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30" r:id="rId78"/>
    <p:sldMasterId id="2147484401" r:id="rId79"/>
  </p:sldMasterIdLst>
  <p:notesMasterIdLst>
    <p:notesMasterId r:id="rId113"/>
  </p:notesMasterIdLst>
  <p:handoutMasterIdLst>
    <p:handoutMasterId r:id="rId114"/>
  </p:handoutMasterIdLst>
  <p:sldIdLst>
    <p:sldId id="1155" r:id="rId80"/>
    <p:sldId id="1118" r:id="rId81"/>
    <p:sldId id="1125" r:id="rId82"/>
    <p:sldId id="1126" r:id="rId83"/>
    <p:sldId id="1093" r:id="rId84"/>
    <p:sldId id="1143" r:id="rId85"/>
    <p:sldId id="1144" r:id="rId86"/>
    <p:sldId id="1145" r:id="rId87"/>
    <p:sldId id="1147" r:id="rId88"/>
    <p:sldId id="1146" r:id="rId89"/>
    <p:sldId id="1148" r:id="rId90"/>
    <p:sldId id="1133" r:id="rId91"/>
    <p:sldId id="1128" r:id="rId92"/>
    <p:sldId id="1137" r:id="rId93"/>
    <p:sldId id="1142" r:id="rId94"/>
    <p:sldId id="1139" r:id="rId95"/>
    <p:sldId id="1149" r:id="rId96"/>
    <p:sldId id="1150" r:id="rId97"/>
    <p:sldId id="1151" r:id="rId98"/>
    <p:sldId id="1140" r:id="rId99"/>
    <p:sldId id="1141" r:id="rId100"/>
    <p:sldId id="1131" r:id="rId101"/>
    <p:sldId id="1129" r:id="rId102"/>
    <p:sldId id="1134" r:id="rId103"/>
    <p:sldId id="1136" r:id="rId104"/>
    <p:sldId id="1135" r:id="rId105"/>
    <p:sldId id="1152" r:id="rId106"/>
    <p:sldId id="1132" r:id="rId107"/>
    <p:sldId id="1130" r:id="rId108"/>
    <p:sldId id="1153" r:id="rId109"/>
    <p:sldId id="1124" r:id="rId110"/>
    <p:sldId id="1110" r:id="rId111"/>
    <p:sldId id="1154" r:id="rId112"/>
  </p:sldIdLst>
  <p:sldSz cx="12436475" cy="6994525"/>
  <p:notesSz cx="6858000" cy="9144000"/>
  <p:defaultTex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uild Template" id="{D88B19E0-7F40-4EB1-BF25-B9D8E02B1AB4}">
          <p14:sldIdLst>
            <p14:sldId id="1155"/>
            <p14:sldId id="1118"/>
          </p14:sldIdLst>
        </p14:section>
        <p14:section name="Problem statement, components of the solution" id="{FABFDA53-95B8-45BE-890C-4015AA4211E4}">
          <p14:sldIdLst>
            <p14:sldId id="1125"/>
            <p14:sldId id="1126"/>
          </p14:sldIdLst>
        </p14:section>
        <p14:section name="Access resources outside of the corporate network" id="{47A68A5B-977A-4C14-B2BF-0311E201F7B3}">
          <p14:sldIdLst>
            <p14:sldId id="1093"/>
            <p14:sldId id="1143"/>
            <p14:sldId id="1144"/>
            <p14:sldId id="1145"/>
            <p14:sldId id="1147"/>
            <p14:sldId id="1146"/>
            <p14:sldId id="1148"/>
            <p14:sldId id="1133"/>
          </p14:sldIdLst>
        </p14:section>
        <p14:section name="Handle authentication and session mechanics" id="{222B7D49-F3E2-4F75-B781-29CEB407D6EF}">
          <p14:sldIdLst>
            <p14:sldId id="1128"/>
            <p14:sldId id="1137"/>
            <p14:sldId id="1142"/>
            <p14:sldId id="1139"/>
            <p14:sldId id="1149"/>
            <p14:sldId id="1150"/>
            <p14:sldId id="1151"/>
            <p14:sldId id="1140"/>
            <p14:sldId id="1141"/>
            <p14:sldId id="1131"/>
          </p14:sldIdLst>
        </p14:section>
        <p14:section name="Apply access policies on non-domain joined devices." id="{0F6685EC-BC58-4F6C-8A30-AEF526FBAF8A}">
          <p14:sldIdLst>
            <p14:sldId id="1129"/>
            <p14:sldId id="1134"/>
            <p14:sldId id="1136"/>
            <p14:sldId id="1135"/>
            <p14:sldId id="1152"/>
            <p14:sldId id="1132"/>
          </p14:sldIdLst>
        </p14:section>
        <p14:section name="wrapup" id="{9A842587-A546-46EC-BD95-4DC2C8852B90}">
          <p14:sldIdLst>
            <p14:sldId id="1130"/>
            <p14:sldId id="1153"/>
            <p14:sldId id="1124"/>
            <p14:sldId id="1110"/>
            <p14:sldId id="1154"/>
          </p14:sldIdLst>
        </p14:section>
      </p14:sectionLst>
    </p:ext>
    <p:ext uri="{EFAFB233-063F-42B5-8137-9DF3F51BA10A}">
      <p15:sldGuideLst xmlns:p15="http://schemas.microsoft.com/office/powerpoint/2012/main">
        <p15:guide id="1" orient="horz" pos="188">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8">
          <p15:clr>
            <a:srgbClr val="A4A3A4"/>
          </p15:clr>
        </p15:guide>
        <p15:guide id="6" orient="horz" pos="3643">
          <p15:clr>
            <a:srgbClr val="A4A3A4"/>
          </p15:clr>
        </p15:guide>
        <p15:guide id="7" orient="horz" pos="3067">
          <p15:clr>
            <a:srgbClr val="A4A3A4"/>
          </p15:clr>
        </p15:guide>
        <p15:guide id="8" orient="horz" pos="1915">
          <p15:clr>
            <a:srgbClr val="A4A3A4"/>
          </p15:clr>
        </p15:guide>
        <p15:guide id="10" pos="173">
          <p15:clr>
            <a:srgbClr val="A4A3A4"/>
          </p15:clr>
        </p15:guide>
        <p15:guide id="11" pos="1325">
          <p15:clr>
            <a:srgbClr val="A4A3A4"/>
          </p15:clr>
        </p15:guide>
        <p15:guide id="12" pos="7661">
          <p15:clr>
            <a:srgbClr val="A4A3A4"/>
          </p15:clr>
        </p15:guide>
        <p15:guide id="13" pos="749">
          <p15:clr>
            <a:srgbClr val="A4A3A4"/>
          </p15:clr>
        </p15:guide>
        <p15:guide id="14" pos="7085">
          <p15:clr>
            <a:srgbClr val="A4A3A4"/>
          </p15:clr>
        </p15:guide>
        <p15:guide id="15" pos="3629">
          <p15:clr>
            <a:srgbClr val="A4A3A4"/>
          </p15:clr>
        </p15:guide>
        <p15:guide id="16" pos="1901">
          <p15:clr>
            <a:srgbClr val="A4A3A4"/>
          </p15:clr>
        </p15:guide>
        <p15:guide id="17" pos="2477">
          <p15:clr>
            <a:srgbClr val="A4A3A4"/>
          </p15:clr>
        </p15:guide>
        <p15:guide id="18" pos="4205">
          <p15:clr>
            <a:srgbClr val="A4A3A4"/>
          </p15:clr>
        </p15:guide>
        <p15:guide id="19" pos="4781">
          <p15:clr>
            <a:srgbClr val="A4A3A4"/>
          </p15:clr>
        </p15:guide>
        <p15:guide id="20" pos="5357">
          <p15:clr>
            <a:srgbClr val="A4A3A4"/>
          </p15:clr>
        </p15:guide>
        <p15:guide id="21" pos="5933">
          <p15:clr>
            <a:srgbClr val="A4A3A4"/>
          </p15:clr>
        </p15:guide>
        <p15:guide id="22" pos="6509">
          <p15:clr>
            <a:srgbClr val="A4A3A4"/>
          </p15:clr>
        </p15:guide>
        <p15:guide id="23" pos="305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323232"/>
    <a:srgbClr val="1E1E1E"/>
    <a:srgbClr val="666666"/>
    <a:srgbClr val="505050"/>
    <a:srgbClr val="00BCF2"/>
    <a:srgbClr val="FFFFFF"/>
    <a:srgbClr val="000000"/>
    <a:srgbClr val="969696"/>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308" autoAdjust="0"/>
    <p:restoredTop sz="95405" autoAdjust="0"/>
  </p:normalViewPr>
  <p:slideViewPr>
    <p:cSldViewPr>
      <p:cViewPr varScale="1">
        <p:scale>
          <a:sx n="101" d="100"/>
          <a:sy n="101" d="100"/>
        </p:scale>
        <p:origin x="894" y="96"/>
      </p:cViewPr>
      <p:guideLst>
        <p:guide orient="horz" pos="188"/>
        <p:guide orient="horz" pos="763"/>
        <p:guide orient="horz" pos="1339"/>
        <p:guide orient="horz" pos="2491"/>
        <p:guide orient="horz" pos="4218"/>
        <p:guide orient="horz" pos="3643"/>
        <p:guide orient="horz" pos="3067"/>
        <p:guide orient="horz" pos="1915"/>
        <p:guide pos="173"/>
        <p:guide pos="1325"/>
        <p:guide pos="7661"/>
        <p:guide pos="749"/>
        <p:guide pos="7085"/>
        <p:guide pos="3629"/>
        <p:guide pos="1901"/>
        <p:guide pos="2477"/>
        <p:guide pos="4205"/>
        <p:guide pos="4781"/>
        <p:guide pos="5357"/>
        <p:guide pos="5933"/>
        <p:guide pos="6509"/>
        <p:guide pos="30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 d="100"/>
        <a:sy n="20" d="100"/>
      </p:scale>
      <p:origin x="0" y="0"/>
    </p:cViewPr>
  </p:sorterViewPr>
  <p:notesViewPr>
    <p:cSldViewPr showGuides="1">
      <p:cViewPr varScale="1">
        <p:scale>
          <a:sx n="95" d="100"/>
          <a:sy n="95" d="100"/>
        </p:scale>
        <p:origin x="358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viewProps" Target="viewProps.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slide" Target="slides/slide5.xml"/><Relationship Id="rId89" Type="http://schemas.openxmlformats.org/officeDocument/2006/relationships/slide" Target="slides/slide10.xml"/><Relationship Id="rId112" Type="http://schemas.openxmlformats.org/officeDocument/2006/relationships/slide" Target="slides/slide33.xml"/><Relationship Id="rId16" Type="http://schemas.openxmlformats.org/officeDocument/2006/relationships/customXml" Target="../customXml/item16.xml"/><Relationship Id="rId107" Type="http://schemas.openxmlformats.org/officeDocument/2006/relationships/slide" Target="slides/slide28.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customXml" Target="../customXml/item74.xml"/><Relationship Id="rId79" Type="http://schemas.openxmlformats.org/officeDocument/2006/relationships/slideMaster" Target="slideMasters/slideMaster2.xml"/><Relationship Id="rId102" Type="http://schemas.openxmlformats.org/officeDocument/2006/relationships/slide" Target="slides/slide23.xml"/><Relationship Id="rId5" Type="http://schemas.openxmlformats.org/officeDocument/2006/relationships/customXml" Target="../customXml/item5.xml"/><Relationship Id="rId90" Type="http://schemas.openxmlformats.org/officeDocument/2006/relationships/slide" Target="slides/slide11.xml"/><Relationship Id="rId95" Type="http://schemas.openxmlformats.org/officeDocument/2006/relationships/slide" Target="slides/slide16.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113" Type="http://schemas.openxmlformats.org/officeDocument/2006/relationships/notesMaster" Target="notesMasters/notesMaster1.xml"/><Relationship Id="rId118" Type="http://schemas.openxmlformats.org/officeDocument/2006/relationships/theme" Target="theme/theme1.xml"/><Relationship Id="rId80" Type="http://schemas.openxmlformats.org/officeDocument/2006/relationships/slide" Target="slides/slide1.xml"/><Relationship Id="rId85" Type="http://schemas.openxmlformats.org/officeDocument/2006/relationships/slide" Target="slides/slide6.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24.xml"/><Relationship Id="rId108" Type="http://schemas.openxmlformats.org/officeDocument/2006/relationships/slide" Target="slides/slide29.xml"/><Relationship Id="rId54" Type="http://schemas.openxmlformats.org/officeDocument/2006/relationships/customXml" Target="../customXml/item54.xml"/><Relationship Id="rId70" Type="http://schemas.openxmlformats.org/officeDocument/2006/relationships/customXml" Target="../customXml/item70.xml"/><Relationship Id="rId75" Type="http://schemas.openxmlformats.org/officeDocument/2006/relationships/customXml" Target="../customXml/item75.xml"/><Relationship Id="rId91" Type="http://schemas.openxmlformats.org/officeDocument/2006/relationships/slide" Target="slides/slide12.xml"/><Relationship Id="rId96"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handoutMaster" Target="handoutMasters/handoutMaster1.xml"/><Relationship Id="rId119" Type="http://schemas.openxmlformats.org/officeDocument/2006/relationships/tableStyles" Target="tableStyles.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customXml" Target="../customXml/item73.xml"/><Relationship Id="rId78" Type="http://schemas.openxmlformats.org/officeDocument/2006/relationships/slideMaster" Target="slideMasters/slideMaster1.xml"/><Relationship Id="rId81" Type="http://schemas.openxmlformats.org/officeDocument/2006/relationships/slide" Target="slides/slide2.xml"/><Relationship Id="rId86" Type="http://schemas.openxmlformats.org/officeDocument/2006/relationships/slide" Target="slides/slide7.xml"/><Relationship Id="rId94" Type="http://schemas.openxmlformats.org/officeDocument/2006/relationships/slide" Target="slides/slide15.xml"/><Relationship Id="rId99" Type="http://schemas.openxmlformats.org/officeDocument/2006/relationships/slide" Target="slides/slide20.xml"/><Relationship Id="rId101" Type="http://schemas.openxmlformats.org/officeDocument/2006/relationships/slide" Target="slides/slide22.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30.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slide" Target="slides/slide18.xml"/><Relationship Id="rId104" Type="http://schemas.openxmlformats.org/officeDocument/2006/relationships/slide" Target="slides/slide25.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slide" Target="slides/slide13.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8.xml"/><Relationship Id="rId110" Type="http://schemas.openxmlformats.org/officeDocument/2006/relationships/slide" Target="slides/slide31.xml"/><Relationship Id="rId115" Type="http://schemas.openxmlformats.org/officeDocument/2006/relationships/commentAuthors" Target="commentAuthors.xml"/><Relationship Id="rId61" Type="http://schemas.openxmlformats.org/officeDocument/2006/relationships/customXml" Target="../customXml/item61.xml"/><Relationship Id="rId82" Type="http://schemas.openxmlformats.org/officeDocument/2006/relationships/slide" Target="slides/slide3.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customXml" Target="../customXml/item77.xml"/><Relationship Id="rId100" Type="http://schemas.openxmlformats.org/officeDocument/2006/relationships/slide" Target="slides/slide21.xml"/><Relationship Id="rId105" Type="http://schemas.openxmlformats.org/officeDocument/2006/relationships/slide" Target="slides/slide26.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slide" Target="slides/slide14.xml"/><Relationship Id="rId98" Type="http://schemas.openxmlformats.org/officeDocument/2006/relationships/slide" Target="slides/slide19.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116" Type="http://schemas.openxmlformats.org/officeDocument/2006/relationships/presProps" Target="presProps.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slide" Target="slides/slide4.xml"/><Relationship Id="rId88" Type="http://schemas.openxmlformats.org/officeDocument/2006/relationships/slide" Target="slides/slide9.xml"/><Relationship Id="rId111" Type="http://schemas.openxmlformats.org/officeDocument/2006/relationships/slide" Target="slides/slide32.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106" Type="http://schemas.openxmlformats.org/officeDocument/2006/relationships/slide" Target="slides/slide2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Build </a:t>
            </a:r>
            <a:r>
              <a:rPr lang="en-US" dirty="0" smtClean="0"/>
              <a:t>2013</a:t>
            </a:r>
            <a:endParaRPr lang="en-US" dirty="0"/>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latin typeface="Segoe UI" pitchFamily="34" charset="0"/>
              </a:rPr>
              <a:t>6/28/2013</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Buil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51B1278-D92B-4AF3-A9C1-71DD298190CE}" type="datetimeFigureOut">
              <a:rPr lang="en-US" smtClean="0"/>
              <a:pPr/>
              <a:t>6/28/2013</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503" rtl="0" eaLnBrk="1" latinLnBrk="0" hangingPunct="1">
      <a:lnSpc>
        <a:spcPct val="90000"/>
      </a:lnSpc>
      <a:spcAft>
        <a:spcPts val="340"/>
      </a:spcAft>
      <a:defRPr sz="1000" kern="1200">
        <a:solidFill>
          <a:schemeClr val="tx1"/>
        </a:solidFill>
        <a:latin typeface="Segoe UI Light" pitchFamily="34" charset="0"/>
        <a:ea typeface="+mn-ea"/>
        <a:cs typeface="+mn-cs"/>
      </a:defRPr>
    </a:lvl1pPr>
    <a:lvl2pPr marL="217206" indent="-107928"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2pPr>
    <a:lvl3pPr marL="334578"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3pPr>
    <a:lvl4pPr marL="492423" indent="-149751"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4pPr>
    <a:lvl5pPr marL="627335"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5pPr>
    <a:lvl6pPr marL="2331259" algn="l" defTabSz="932503" rtl="0" eaLnBrk="1" latinLnBrk="0" hangingPunct="1">
      <a:defRPr sz="1200" kern="1200">
        <a:solidFill>
          <a:schemeClr val="tx1"/>
        </a:solidFill>
        <a:latin typeface="+mn-lt"/>
        <a:ea typeface="+mn-ea"/>
        <a:cs typeface="+mn-cs"/>
      </a:defRPr>
    </a:lvl6pPr>
    <a:lvl7pPr marL="2797510" algn="l" defTabSz="932503" rtl="0" eaLnBrk="1" latinLnBrk="0" hangingPunct="1">
      <a:defRPr sz="1200" kern="1200">
        <a:solidFill>
          <a:schemeClr val="tx1"/>
        </a:solidFill>
        <a:latin typeface="+mn-lt"/>
        <a:ea typeface="+mn-ea"/>
        <a:cs typeface="+mn-cs"/>
      </a:defRPr>
    </a:lvl7pPr>
    <a:lvl8pPr marL="3263762" algn="l" defTabSz="932503" rtl="0" eaLnBrk="1" latinLnBrk="0" hangingPunct="1">
      <a:defRPr sz="1200" kern="1200">
        <a:solidFill>
          <a:schemeClr val="tx1"/>
        </a:solidFill>
        <a:latin typeface="+mn-lt"/>
        <a:ea typeface="+mn-ea"/>
        <a:cs typeface="+mn-cs"/>
      </a:defRPr>
    </a:lvl8pPr>
    <a:lvl9pPr marL="3730014" algn="l" defTabSz="9325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90C8B86-5D93-4262-A487-6ACE216BE1E8}" type="datetime1">
              <a:rPr lang="en-US" smtClean="0"/>
              <a:t>6/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5828197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152A13-E326-4035-82A8-8364080D8AA8}" type="datetime1">
              <a:rPr lang="en-US" smtClean="0"/>
              <a:t>6/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589422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smtClean="0"/>
              <a:t>Buil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152A13-E326-4035-82A8-8364080D8AA8}" type="datetime1">
              <a:rPr lang="en-US" smtClean="0"/>
              <a:t>6/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796749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smtClean="0"/>
              <a:t>Buil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152A13-E326-4035-82A8-8364080D8AA8}" type="datetime1">
              <a:rPr lang="en-US" smtClean="0"/>
              <a:t>6/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566017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smtClean="0"/>
              <a:t>Buil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152A13-E326-4035-82A8-8364080D8AA8}" type="datetime1">
              <a:rPr lang="en-US" smtClean="0"/>
              <a:t>6/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437324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smtClean="0"/>
              <a:t>Buil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B152A13-E326-4035-82A8-8364080D8AA8}" type="datetime1">
              <a:rPr lang="en-US" smtClean="0"/>
              <a:t>6/2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1820253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8/2013 1: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40655516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Color  2">
    <p:bg>
      <p:bgRef idx="1001">
        <a:schemeClr val="bg1"/>
      </p:bgRef>
    </p:bg>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3040856"/>
            <a:ext cx="11887199" cy="912813"/>
          </a:xfrm>
        </p:spPr>
        <p:txBody>
          <a:bodyPr lIns="182880" tIns="146304" rIns="182880" bIns="146304"/>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171420528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48250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8459787" cy="726353"/>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lumMod val="75000"/>
                        <a:lumOff val="25000"/>
                      </a:schemeClr>
                    </a:gs>
                    <a:gs pos="100000">
                      <a:schemeClr val="tx1">
                        <a:lumMod val="75000"/>
                        <a:lumOff val="25000"/>
                      </a:schemeClr>
                    </a:gs>
                  </a:gsLst>
                  <a:lin ang="5400000" scaled="0"/>
                </a:gradFill>
                <a:cs typeface="Segoe UI" pitchFamily="34" charset="0"/>
              </a:rPr>
              <a:t>© </a:t>
            </a:r>
            <a:r>
              <a:rPr lang="en-US" sz="700" dirty="0" smtClean="0">
                <a:gradFill>
                  <a:gsLst>
                    <a:gs pos="0">
                      <a:schemeClr val="tx1">
                        <a:lumMod val="75000"/>
                        <a:lumOff val="25000"/>
                      </a:schemeClr>
                    </a:gs>
                    <a:gs pos="100000">
                      <a:schemeClr val="tx1">
                        <a:lumMod val="75000"/>
                        <a:lumOff val="25000"/>
                      </a:schemeClr>
                    </a:gs>
                  </a:gsLst>
                  <a:lin ang="5400000" scaled="0"/>
                </a:gradFill>
                <a:cs typeface="Segoe UI" pitchFamily="34" charset="0"/>
              </a:rPr>
              <a:t>2013 </a:t>
            </a:r>
            <a:r>
              <a:rPr lang="en-US" sz="700" dirty="0">
                <a:gradFill>
                  <a:gsLst>
                    <a:gs pos="0">
                      <a:schemeClr val="tx1">
                        <a:lumMod val="75000"/>
                        <a:lumOff val="25000"/>
                      </a:schemeClr>
                    </a:gs>
                    <a:gs pos="100000">
                      <a:schemeClr val="tx1">
                        <a:lumMod val="75000"/>
                        <a:lumOff val="25000"/>
                      </a:schemeClr>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chemeClr val="tx1">
                        <a:lumMod val="75000"/>
                        <a:lumOff val="25000"/>
                      </a:schemeClr>
                    </a:gs>
                    <a:gs pos="100000">
                      <a:schemeClr val="tx1">
                        <a:lumMod val="75000"/>
                        <a:lumOff val="25000"/>
                      </a:schemeClr>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03733"/>
            <a:ext cx="3687046" cy="787059"/>
          </a:xfrm>
          <a:prstGeom prst="rect">
            <a:avLst/>
          </a:prstGeom>
        </p:spPr>
      </p:pic>
    </p:spTree>
    <p:extLst>
      <p:ext uri="{BB962C8B-B14F-4D97-AF65-F5344CB8AC3E}">
        <p14:creationId xmlns:p14="http://schemas.microsoft.com/office/powerpoint/2010/main" val="359707467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7" name="Freeform 6"/>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55685025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3040063"/>
            <a:ext cx="11887200" cy="914400"/>
          </a:xfrm>
        </p:spPr>
        <p:txBody>
          <a:bodyPr lIns="182880" tIns="146304" rIns="182880" bIns="146304" anchor="ctr">
            <a:noAutofit/>
          </a:bodyPr>
          <a:lstStyle>
            <a:lvl1pPr>
              <a:lnSpc>
                <a:spcPct val="90000"/>
              </a:lnSpc>
              <a:defRPr sz="6600" spc="0" baseline="0">
                <a:gradFill>
                  <a:gsLst>
                    <a:gs pos="0">
                      <a:srgbClr val="404040"/>
                    </a:gs>
                    <a:gs pos="100000">
                      <a:schemeClr val="tx1">
                        <a:lumMod val="75000"/>
                        <a:lumOff val="25000"/>
                      </a:schemeClr>
                    </a:gs>
                  </a:gsLst>
                  <a:lin ang="5400000" scaled="0"/>
                </a:gradFill>
                <a:latin typeface="Segoe UI Light" pitchFamily="34" charset="0"/>
                <a:cs typeface="Segoe UI Light"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74640" y="5783263"/>
            <a:ext cx="7315199" cy="914400"/>
          </a:xfrm>
        </p:spPr>
        <p:txBody>
          <a:bodyPr lIns="182880" tIns="146304" rIns="182880" bIns="146304" anchor="b">
            <a:noAutofit/>
          </a:bodyPr>
          <a:lstStyle>
            <a:lvl1pPr marL="0" indent="0" algn="l">
              <a:lnSpc>
                <a:spcPct val="90000"/>
              </a:lnSpc>
              <a:spcBef>
                <a:spcPts val="0"/>
              </a:spcBef>
              <a:buNone/>
              <a:defRPr sz="2800" b="0" spc="-52" baseline="0">
                <a:gradFill>
                  <a:gsLst>
                    <a:gs pos="0">
                      <a:schemeClr val="tx1">
                        <a:lumMod val="75000"/>
                        <a:lumOff val="25000"/>
                      </a:schemeClr>
                    </a:gs>
                    <a:gs pos="100000">
                      <a:schemeClr val="tx1">
                        <a:lumMod val="75000"/>
                        <a:lumOff val="25000"/>
                      </a:schemeClr>
                    </a:gs>
                  </a:gsLst>
                  <a:lin ang="5400000" scaled="0"/>
                </a:gradFill>
                <a:latin typeface="+mn-lt"/>
                <a:cs typeface="Segoe UI" pitchFamily="34" charset="0"/>
              </a:defRPr>
            </a:lvl1pPr>
            <a:lvl2pPr marL="466207" indent="0" algn="ctr">
              <a:buNone/>
              <a:defRPr>
                <a:solidFill>
                  <a:schemeClr val="tx1">
                    <a:tint val="75000"/>
                  </a:schemeClr>
                </a:solidFill>
              </a:defRPr>
            </a:lvl2pPr>
            <a:lvl3pPr marL="932411" indent="0" algn="ctr">
              <a:buNone/>
              <a:defRPr>
                <a:solidFill>
                  <a:schemeClr val="tx1">
                    <a:tint val="75000"/>
                  </a:schemeClr>
                </a:solidFill>
              </a:defRPr>
            </a:lvl3pPr>
            <a:lvl4pPr marL="1398619" indent="0" algn="ctr">
              <a:buNone/>
              <a:defRPr>
                <a:solidFill>
                  <a:schemeClr val="tx1">
                    <a:tint val="75000"/>
                  </a:schemeClr>
                </a:solidFill>
              </a:defRPr>
            </a:lvl4pPr>
            <a:lvl5pPr marL="1864824" indent="0" algn="ctr">
              <a:buNone/>
              <a:defRPr>
                <a:solidFill>
                  <a:schemeClr val="tx1">
                    <a:tint val="75000"/>
                  </a:schemeClr>
                </a:solidFill>
              </a:defRPr>
            </a:lvl5pPr>
            <a:lvl6pPr marL="2331032" indent="0" algn="ctr">
              <a:buNone/>
              <a:defRPr>
                <a:solidFill>
                  <a:schemeClr val="tx1">
                    <a:tint val="75000"/>
                  </a:schemeClr>
                </a:solidFill>
              </a:defRPr>
            </a:lvl6pPr>
            <a:lvl7pPr marL="2797234" indent="0" algn="ctr">
              <a:buNone/>
              <a:defRPr>
                <a:solidFill>
                  <a:schemeClr val="tx1">
                    <a:tint val="75000"/>
                  </a:schemeClr>
                </a:solidFill>
              </a:defRPr>
            </a:lvl7pPr>
            <a:lvl8pPr marL="3263441" indent="0" algn="ctr">
              <a:buNone/>
              <a:defRPr>
                <a:solidFill>
                  <a:schemeClr val="tx1">
                    <a:tint val="75000"/>
                  </a:schemeClr>
                </a:solidFill>
              </a:defRPr>
            </a:lvl8pPr>
            <a:lvl9pPr marL="3729649" indent="0" algn="ctr">
              <a:buNone/>
              <a:defRPr>
                <a:solidFill>
                  <a:schemeClr val="tx1">
                    <a:tint val="75000"/>
                  </a:schemeClr>
                </a:solidFill>
              </a:defRPr>
            </a:lvl9pPr>
          </a:lstStyle>
          <a:p>
            <a:r>
              <a:rPr lang="en-US" smtClean="0"/>
              <a:t>Click to edit Master subtitle style</a:t>
            </a:r>
            <a:endParaRPr lang="en-US" dirty="0"/>
          </a:p>
        </p:txBody>
      </p:sp>
      <p:sp>
        <p:nvSpPr>
          <p:cNvPr id="7" name="Freeform 6"/>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Tree>
    <p:extLst>
      <p:ext uri="{BB962C8B-B14F-4D97-AF65-F5344CB8AC3E}">
        <p14:creationId xmlns:p14="http://schemas.microsoft.com/office/powerpoint/2010/main" val="16713047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3001430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150227"/>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33956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35294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smtClean="0"/>
              <a:t>Click to edit Master text styles</a:t>
            </a:r>
          </a:p>
        </p:txBody>
      </p:sp>
      <p:sp>
        <p:nvSpPr>
          <p:cNvPr id="2" name="Title 1"/>
          <p:cNvSpPr>
            <a:spLocks noGrp="1"/>
          </p:cNvSpPr>
          <p:nvPr>
            <p:ph type="title" hasCustomPrompt="1"/>
          </p:nvPr>
        </p:nvSpPr>
        <p:spPr>
          <a:xfrm>
            <a:off x="274638" y="3040856"/>
            <a:ext cx="11887199" cy="912813"/>
          </a:xfrm>
        </p:spPr>
        <p:txBody>
          <a:bodyPr lIns="182880" tIns="146304" rIns="182880" bIns="146304"/>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320027312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182880" tIns="146304" rIns="182880" bIns="146304"/>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668463"/>
            <a:ext cx="11887200" cy="5027612"/>
          </a:xfrm>
        </p:spPr>
        <p:txBody>
          <a:bodyPr lIns="182880" tIns="146304" rIns="182880" bIns="146304"/>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567216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391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75038" y="1668482"/>
            <a:ext cx="8686801" cy="5029181"/>
          </a:xfrm>
        </p:spPr>
        <p:txBody>
          <a:bodyPr lIns="182880" tIns="146304" rIns="182880" bIns="146304">
            <a:noAutofit/>
          </a:bodyPr>
          <a:lstStyle>
            <a:lvl1pPr>
              <a:defRPr sz="3600">
                <a:gradFill>
                  <a:gsLst>
                    <a:gs pos="100000">
                      <a:schemeClr val="tx1">
                        <a:lumMod val="75000"/>
                        <a:lumOff val="25000"/>
                      </a:schemeClr>
                    </a:gs>
                    <a:gs pos="0">
                      <a:schemeClr val="tx1">
                        <a:lumMod val="75000"/>
                        <a:lumOff val="25000"/>
                      </a:schemeClr>
                    </a:gs>
                  </a:gsLst>
                  <a:lin ang="5400000" scaled="0"/>
                </a:gradFill>
              </a:defRPr>
            </a:lvl1pPr>
            <a:lvl2pPr>
              <a:defRPr sz="2800">
                <a:gradFill>
                  <a:gsLst>
                    <a:gs pos="100000">
                      <a:schemeClr val="tx1">
                        <a:lumMod val="75000"/>
                        <a:lumOff val="25000"/>
                      </a:schemeClr>
                    </a:gs>
                    <a:gs pos="0">
                      <a:schemeClr val="tx1">
                        <a:lumMod val="75000"/>
                        <a:lumOff val="25000"/>
                      </a:schemeClr>
                    </a:gs>
                  </a:gsLst>
                  <a:lin ang="5400000" scaled="0"/>
                </a:gradFill>
              </a:defRPr>
            </a:lvl2pPr>
            <a:lvl3pPr>
              <a:defRPr sz="2400">
                <a:gradFill>
                  <a:gsLst>
                    <a:gs pos="100000">
                      <a:schemeClr val="tx1">
                        <a:lumMod val="75000"/>
                        <a:lumOff val="25000"/>
                      </a:schemeClr>
                    </a:gs>
                    <a:gs pos="0">
                      <a:schemeClr val="tx1">
                        <a:lumMod val="75000"/>
                        <a:lumOff val="25000"/>
                      </a:schemeClr>
                    </a:gs>
                  </a:gsLst>
                  <a:lin ang="5400000" scaled="0"/>
                </a:gradFill>
              </a:defRPr>
            </a:lvl3pPr>
            <a:lvl4pPr>
              <a:defRPr sz="2000">
                <a:gradFill>
                  <a:gsLst>
                    <a:gs pos="100000">
                      <a:schemeClr val="tx1">
                        <a:lumMod val="75000"/>
                        <a:lumOff val="25000"/>
                      </a:schemeClr>
                    </a:gs>
                    <a:gs pos="0">
                      <a:schemeClr val="tx1">
                        <a:lumMod val="75000"/>
                        <a:lumOff val="25000"/>
                      </a:schemeClr>
                    </a:gs>
                  </a:gsLst>
                  <a:lin ang="5400000" scaled="0"/>
                </a:gradFill>
              </a:defRPr>
            </a:lvl4pPr>
            <a:lvl5pPr>
              <a:defRPr sz="1800">
                <a:gradFill>
                  <a:gsLst>
                    <a:gs pos="100000">
                      <a:schemeClr val="tx1">
                        <a:lumMod val="75000"/>
                        <a:lumOff val="25000"/>
                      </a:schemeClr>
                    </a:gs>
                    <a:gs pos="0">
                      <a:schemeClr val="tx1">
                        <a:lumMod val="75000"/>
                        <a:lumOff val="25000"/>
                      </a:schemeClr>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1668482"/>
            <a:ext cx="2743200" cy="5029181"/>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100000">
                      <a:schemeClr val="tx1">
                        <a:lumMod val="75000"/>
                        <a:lumOff val="25000"/>
                      </a:schemeClr>
                    </a:gs>
                    <a:gs pos="0">
                      <a:schemeClr val="tx1">
                        <a:lumMod val="75000"/>
                        <a:lumOff val="25000"/>
                      </a:schemeClr>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2" name="Title 1"/>
          <p:cNvSpPr>
            <a:spLocks noGrp="1"/>
          </p:cNvSpPr>
          <p:nvPr>
            <p:ph type="title"/>
          </p:nvPr>
        </p:nvSpPr>
        <p:spPr/>
        <p:txBody>
          <a:bodyPr/>
          <a:lstStyle>
            <a:lvl1pPr>
              <a:defRPr>
                <a:gradFill>
                  <a:gsLst>
                    <a:gs pos="100000">
                      <a:schemeClr val="tx1">
                        <a:lumMod val="75000"/>
                        <a:lumOff val="25000"/>
                      </a:schemeClr>
                    </a:gs>
                    <a:gs pos="0">
                      <a:schemeClr val="tx1">
                        <a:lumMod val="75000"/>
                        <a:lumOff val="25000"/>
                      </a:schemeClr>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7524125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173">
          <p15:clr>
            <a:srgbClr val="FBAE40"/>
          </p15:clr>
        </p15:guide>
        <p15:guide id="3" pos="1901">
          <p15:clr>
            <a:srgbClr val="FBAE40"/>
          </p15:clr>
        </p15:guide>
        <p15:guide id="4" pos="2189">
          <p15:clr>
            <a:srgbClr val="FBAE40"/>
          </p15:clr>
        </p15:guide>
        <p15:guide id="5" orient="horz" pos="4219">
          <p15:clr>
            <a:srgbClr val="FBAE40"/>
          </p15:clr>
        </p15:guide>
        <p15:guide id="6" orient="horz" pos="763">
          <p15:clr>
            <a:srgbClr val="FBAE40"/>
          </p15:clr>
        </p15:guide>
        <p15:guide id="7" orient="horz" pos="187">
          <p15:clr>
            <a:srgbClr val="FBAE40"/>
          </p15:clr>
        </p15:guide>
        <p15:guide id="8" pos="766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lIns="182880" tIns="146304" rIns="182880" bIns="146304"/>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668463"/>
            <a:ext cx="11887200" cy="5027612"/>
          </a:xfrm>
        </p:spPr>
        <p:txBody>
          <a:bodyPr lIns="182880" tIns="146304" rIns="182880" bIns="146304"/>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43175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051" userDrawn="1">
          <p15:clr>
            <a:srgbClr val="FBAE40"/>
          </p15:clr>
        </p15:guide>
        <p15:guide id="2" pos="391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304456001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668482"/>
            <a:ext cx="2743200" cy="5027593"/>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3" name="Title 2"/>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948674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57788523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84260087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lstStyle/>
          <a:p>
            <a:r>
              <a:rPr lang="en-US" smtClean="0"/>
              <a:t>Click icon to add picture</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532498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3" name="Content Placeholder 4"/>
          <p:cNvSpPr>
            <a:spLocks noGrp="1"/>
          </p:cNvSpPr>
          <p:nvPr>
            <p:ph sz="quarter" idx="14"/>
          </p:nvPr>
        </p:nvSpPr>
        <p:spPr>
          <a:xfrm>
            <a:off x="274638" y="1668462"/>
            <a:ext cx="11887200" cy="5029201"/>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5921281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56269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4581547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150227"/>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292998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967914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75038" y="1668482"/>
            <a:ext cx="8686801" cy="5029181"/>
          </a:xfrm>
        </p:spPr>
        <p:txBody>
          <a:bodyPr lIns="182880" tIns="146304" rIns="182880" bIns="146304">
            <a:noAutofit/>
          </a:bodyPr>
          <a:lstStyle>
            <a:lvl1pPr>
              <a:defRPr sz="3600">
                <a:gradFill>
                  <a:gsLst>
                    <a:gs pos="100000">
                      <a:schemeClr val="tx1">
                        <a:lumMod val="75000"/>
                        <a:lumOff val="25000"/>
                      </a:schemeClr>
                    </a:gs>
                    <a:gs pos="0">
                      <a:schemeClr val="tx1">
                        <a:lumMod val="75000"/>
                        <a:lumOff val="25000"/>
                      </a:schemeClr>
                    </a:gs>
                  </a:gsLst>
                  <a:lin ang="5400000" scaled="0"/>
                </a:gradFill>
              </a:defRPr>
            </a:lvl1pPr>
            <a:lvl2pPr>
              <a:defRPr sz="2800">
                <a:gradFill>
                  <a:gsLst>
                    <a:gs pos="100000">
                      <a:schemeClr val="tx1">
                        <a:lumMod val="75000"/>
                        <a:lumOff val="25000"/>
                      </a:schemeClr>
                    </a:gs>
                    <a:gs pos="0">
                      <a:schemeClr val="tx1">
                        <a:lumMod val="75000"/>
                        <a:lumOff val="25000"/>
                      </a:schemeClr>
                    </a:gs>
                  </a:gsLst>
                  <a:lin ang="5400000" scaled="0"/>
                </a:gradFill>
              </a:defRPr>
            </a:lvl2pPr>
            <a:lvl3pPr>
              <a:defRPr sz="2400">
                <a:gradFill>
                  <a:gsLst>
                    <a:gs pos="100000">
                      <a:schemeClr val="tx1">
                        <a:lumMod val="75000"/>
                        <a:lumOff val="25000"/>
                      </a:schemeClr>
                    </a:gs>
                    <a:gs pos="0">
                      <a:schemeClr val="tx1">
                        <a:lumMod val="75000"/>
                        <a:lumOff val="25000"/>
                      </a:schemeClr>
                    </a:gs>
                  </a:gsLst>
                  <a:lin ang="5400000" scaled="0"/>
                </a:gradFill>
              </a:defRPr>
            </a:lvl3pPr>
            <a:lvl4pPr>
              <a:defRPr sz="2000">
                <a:gradFill>
                  <a:gsLst>
                    <a:gs pos="100000">
                      <a:schemeClr val="tx1">
                        <a:lumMod val="75000"/>
                        <a:lumOff val="25000"/>
                      </a:schemeClr>
                    </a:gs>
                    <a:gs pos="0">
                      <a:schemeClr val="tx1">
                        <a:lumMod val="75000"/>
                        <a:lumOff val="25000"/>
                      </a:schemeClr>
                    </a:gs>
                  </a:gsLst>
                  <a:lin ang="5400000" scaled="0"/>
                </a:gradFill>
              </a:defRPr>
            </a:lvl4pPr>
            <a:lvl5pPr>
              <a:defRPr sz="1800">
                <a:gradFill>
                  <a:gsLst>
                    <a:gs pos="100000">
                      <a:schemeClr val="tx1">
                        <a:lumMod val="75000"/>
                        <a:lumOff val="25000"/>
                      </a:schemeClr>
                    </a:gs>
                    <a:gs pos="0">
                      <a:schemeClr val="tx1">
                        <a:lumMod val="75000"/>
                        <a:lumOff val="25000"/>
                      </a:schemeClr>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1668482"/>
            <a:ext cx="2743200" cy="5029181"/>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100000">
                      <a:schemeClr val="tx1">
                        <a:lumMod val="75000"/>
                        <a:lumOff val="25000"/>
                      </a:schemeClr>
                    </a:gs>
                    <a:gs pos="0">
                      <a:schemeClr val="tx1">
                        <a:lumMod val="75000"/>
                        <a:lumOff val="25000"/>
                      </a:schemeClr>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2" name="Title 1"/>
          <p:cNvSpPr>
            <a:spLocks noGrp="1"/>
          </p:cNvSpPr>
          <p:nvPr>
            <p:ph type="title"/>
          </p:nvPr>
        </p:nvSpPr>
        <p:spPr/>
        <p:txBody>
          <a:bodyPr/>
          <a:lstStyle>
            <a:lvl1pPr>
              <a:defRPr>
                <a:gradFill>
                  <a:gsLst>
                    <a:gs pos="100000">
                      <a:schemeClr val="tx1">
                        <a:lumMod val="75000"/>
                        <a:lumOff val="25000"/>
                      </a:schemeClr>
                    </a:gs>
                    <a:gs pos="0">
                      <a:schemeClr val="tx1">
                        <a:lumMod val="75000"/>
                        <a:lumOff val="25000"/>
                      </a:schemeClr>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79731883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051" userDrawn="1">
          <p15:clr>
            <a:srgbClr val="FBAE40"/>
          </p15:clr>
        </p15:guide>
        <p15:guide id="2" pos="173" userDrawn="1">
          <p15:clr>
            <a:srgbClr val="FBAE40"/>
          </p15:clr>
        </p15:guide>
        <p15:guide id="3" pos="1901" userDrawn="1">
          <p15:clr>
            <a:srgbClr val="FBAE40"/>
          </p15:clr>
        </p15:guide>
        <p15:guide id="4" pos="2189" userDrawn="1">
          <p15:clr>
            <a:srgbClr val="FBAE40"/>
          </p15:clr>
        </p15:guide>
        <p15:guide id="5" orient="horz" pos="4219" userDrawn="1">
          <p15:clr>
            <a:srgbClr val="FBAE40"/>
          </p15:clr>
        </p15:guide>
        <p15:guide id="6" orient="horz" pos="763" userDrawn="1">
          <p15:clr>
            <a:srgbClr val="FBAE40"/>
          </p15:clr>
        </p15:guide>
        <p15:guide id="7" orient="horz" pos="187" userDrawn="1">
          <p15:clr>
            <a:srgbClr val="FBAE40"/>
          </p15:clr>
        </p15:guide>
        <p15:guide id="8" pos="766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4800"/>
            </a:lvl1pPr>
          </a:lstStyle>
          <a:p>
            <a:r>
              <a:rPr lang="en-US" dirty="0" smtClean="0"/>
              <a:t>Click to edit master title style</a:t>
            </a:r>
            <a:endParaRPr lang="en-US" dirty="0"/>
          </a:p>
        </p:txBody>
      </p:sp>
    </p:spTree>
    <p:extLst>
      <p:ext uri="{BB962C8B-B14F-4D97-AF65-F5344CB8AC3E}">
        <p14:creationId xmlns:p14="http://schemas.microsoft.com/office/powerpoint/2010/main" val="8655377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668482"/>
            <a:ext cx="2743200" cy="5027593"/>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smtClean="0"/>
              <a:t>Click to edit Master text styles</a:t>
            </a:r>
          </a:p>
        </p:txBody>
      </p:sp>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6871424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5422700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50072167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lstStyle/>
          <a:p>
            <a:r>
              <a:rPr lang="en-US" smtClean="0"/>
              <a:t>Click icon to add picture</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4602804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203" userDrawn="1">
          <p15:clr>
            <a:srgbClr val="FBAE40"/>
          </p15:clr>
        </p15:guide>
        <p15:guide id="2" pos="305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3" name="Content Placeholder 4"/>
          <p:cNvSpPr>
            <a:spLocks noGrp="1"/>
          </p:cNvSpPr>
          <p:nvPr>
            <p:ph sz="quarter" idx="14"/>
          </p:nvPr>
        </p:nvSpPr>
        <p:spPr>
          <a:xfrm>
            <a:off x="274638" y="1668462"/>
            <a:ext cx="11887200" cy="5029201"/>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smtClean="0"/>
              <a:t>Click to edit Master text styles</a:t>
            </a:r>
          </a:p>
          <a:p>
            <a:pPr lvl="1"/>
            <a:r>
              <a:rPr lang="en-US" smtClean="0"/>
              <a:t>Second level</a:t>
            </a:r>
          </a:p>
          <a:p>
            <a:pPr lvl="2"/>
            <a:r>
              <a:rPr lang="en-US" smtClean="0"/>
              <a:t>Third level</a:t>
            </a: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7829040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485603"/>
            <a:ext cx="11887200" cy="5212061"/>
          </a:xfrm>
          <a:prstGeom prst="rect">
            <a:avLst/>
          </a:prstGeom>
        </p:spPr>
        <p:txBody>
          <a:bodyPr vert="horz"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146304" rIns="182880" bIns="146304" rtlCol="0" anchor="t">
            <a:noAutofit/>
          </a:bodyPr>
          <a:lstStyle/>
          <a:p>
            <a:r>
              <a:rPr lang="en-US" smtClean="0"/>
              <a:t>Click to edit Master title style</a:t>
            </a:r>
            <a:endParaRPr lang="en-US" dirty="0"/>
          </a:p>
        </p:txBody>
      </p:sp>
    </p:spTree>
    <p:extLst>
      <p:ext uri="{BB962C8B-B14F-4D97-AF65-F5344CB8AC3E}">
        <p14:creationId xmlns:p14="http://schemas.microsoft.com/office/powerpoint/2010/main" val="1778585588"/>
      </p:ext>
    </p:extLst>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 id="2147484400" r:id="rId11"/>
    <p:sldLayoutId id="2147484398" r:id="rId12"/>
    <p:sldLayoutId id="2147484399" r:id="rId13"/>
    <p:sldLayoutId id="2147484341" r:id="rId14"/>
    <p:sldLayoutId id="2147484342" r:id="rId15"/>
    <p:sldLayoutId id="2147484343" r:id="rId16"/>
  </p:sldLayoutIdLst>
  <p:timing>
    <p:tnLst>
      <p:par>
        <p:cTn id="1" dur="indefinite" restart="never" nodeType="tmRoot"/>
      </p:par>
    </p:tnLst>
  </p:timing>
  <p:txStyles>
    <p:titleStyle>
      <a:lvl1pPr algn="l" defTabSz="914166" rtl="0" eaLnBrk="1" latinLnBrk="0" hangingPunct="1">
        <a:spcBef>
          <a:spcPct val="0"/>
        </a:spcBef>
        <a:buNone/>
        <a:defRPr sz="4800" kern="1200">
          <a:gradFill>
            <a:gsLst>
              <a:gs pos="66981">
                <a:schemeClr val="tx1">
                  <a:lumMod val="75000"/>
                  <a:lumOff val="25000"/>
                </a:schemeClr>
              </a:gs>
              <a:gs pos="0">
                <a:schemeClr val="tx1">
                  <a:lumMod val="75000"/>
                  <a:lumOff val="25000"/>
                </a:schemeClr>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66981">
                <a:schemeClr val="tx1">
                  <a:lumMod val="75000"/>
                  <a:lumOff val="25000"/>
                </a:schemeClr>
              </a:gs>
              <a:gs pos="0">
                <a:schemeClr val="tx1">
                  <a:lumMod val="75000"/>
                  <a:lumOff val="25000"/>
                </a:schemeClr>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485603"/>
            <a:ext cx="11887200" cy="5212061"/>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146304" rIns="182880" bIns="146304"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4127301949"/>
      </p:ext>
    </p:extLst>
  </p:cSld>
  <p:clrMap bg1="dk1" tx1="lt1" bg2="dk2" tx2="lt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5" r:id="rId11"/>
    <p:sldLayoutId id="2147484416" r:id="rId12"/>
    <p:sldLayoutId id="2147484417" r:id="rId13"/>
  </p:sldLayoutIdLst>
  <p:timing>
    <p:tnLst>
      <p:par>
        <p:cTn id="1" dur="indefinite" restart="never" nodeType="tmRoot"/>
      </p:par>
    </p:tnLst>
  </p:timing>
  <p:txStyles>
    <p:titleStyle>
      <a:lvl1pPr algn="l" defTabSz="914166" rtl="0" eaLnBrk="1" latinLnBrk="0" hangingPunct="1">
        <a:spcBef>
          <a:spcPct val="0"/>
        </a:spcBef>
        <a:buNone/>
        <a:defRPr sz="4800" kern="1200">
          <a:gradFill>
            <a:gsLst>
              <a:gs pos="66981">
                <a:schemeClr val="tx1">
                  <a:lumMod val="75000"/>
                  <a:lumOff val="25000"/>
                </a:schemeClr>
              </a:gs>
              <a:gs pos="0">
                <a:schemeClr val="tx1">
                  <a:lumMod val="75000"/>
                  <a:lumOff val="25000"/>
                </a:schemeClr>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66981">
                <a:schemeClr val="tx1">
                  <a:lumMod val="75000"/>
                  <a:lumOff val="25000"/>
                </a:schemeClr>
              </a:gs>
              <a:gs pos="0">
                <a:schemeClr val="tx1">
                  <a:lumMod val="75000"/>
                  <a:lumOff val="25000"/>
                </a:schemeClr>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66981">
                <a:schemeClr val="tx1">
                  <a:lumMod val="75000"/>
                  <a:lumOff val="25000"/>
                </a:schemeClr>
              </a:gs>
              <a:gs pos="0">
                <a:schemeClr val="tx1">
                  <a:lumMod val="75000"/>
                  <a:lumOff val="25000"/>
                </a:schemeClr>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hyperlink" Target="https://nuget.org/packages/Microsoft.WindowsAzure.ActiveDirectory.Authentication/" TargetMode="External"/><Relationship Id="rId2" Type="http://schemas.openxmlformats.org/officeDocument/2006/relationships/hyperlink" Target="http://blogs.msdn.com/b/vbertocci/archive/2012/11/20/a-refresh-of-the-windows-azure-authentication-library-developer-preview.aspx" TargetMode="Externa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4.png"/><Relationship Id="rId3" Type="http://schemas.openxmlformats.org/officeDocument/2006/relationships/tags" Target="../tags/tag3.xml"/><Relationship Id="rId7" Type="http://schemas.openxmlformats.org/officeDocument/2006/relationships/image" Target="../media/image9.png"/><Relationship Id="rId12"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emf"/><Relationship Id="rId11" Type="http://schemas.openxmlformats.org/officeDocument/2006/relationships/image" Target="../media/image2.png"/><Relationship Id="rId5" Type="http://schemas.openxmlformats.org/officeDocument/2006/relationships/slideLayout" Target="../slideLayouts/slideLayout19.xml"/><Relationship Id="rId10" Type="http://schemas.openxmlformats.org/officeDocument/2006/relationships/image" Target="../media/image12.png"/><Relationship Id="rId4" Type="http://schemas.openxmlformats.org/officeDocument/2006/relationships/tags" Target="../tags/tag4.xml"/><Relationship Id="rId9" Type="http://schemas.openxmlformats.org/officeDocument/2006/relationships/image" Target="../media/image11.png"/><Relationship Id="rId14" Type="http://schemas.openxmlformats.org/officeDocument/2006/relationships/image" Target="../media/image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customXml" Target="../../customXml/item68.xml"/><Relationship Id="rId7" Type="http://schemas.openxmlformats.org/officeDocument/2006/relationships/image" Target="../media/image2.png"/><Relationship Id="rId2" Type="http://schemas.openxmlformats.org/officeDocument/2006/relationships/customXml" Target="../../customXml/item52.xml"/><Relationship Id="rId1" Type="http://schemas.openxmlformats.org/officeDocument/2006/relationships/customXml" Target="../../customXml/item32.xml"/><Relationship Id="rId6" Type="http://schemas.openxmlformats.org/officeDocument/2006/relationships/slideLayout" Target="../slideLayouts/slideLayout19.xml"/><Relationship Id="rId5" Type="http://schemas.openxmlformats.org/officeDocument/2006/relationships/customXml" Target="../../customXml/item13.xml"/><Relationship Id="rId10" Type="http://schemas.openxmlformats.org/officeDocument/2006/relationships/image" Target="../media/image5.png"/><Relationship Id="rId4" Type="http://schemas.openxmlformats.org/officeDocument/2006/relationships/customXml" Target="../../customXml/item76.xml"/><Relationship Id="rId9" Type="http://schemas.openxmlformats.org/officeDocument/2006/relationships/image" Target="../media/image4.png"/></Relationships>
</file>

<file path=ppt/slides/_rels/slide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customXml" Target="../../customXml/item75.xml"/><Relationship Id="rId7" Type="http://schemas.openxmlformats.org/officeDocument/2006/relationships/image" Target="../media/image12.png"/><Relationship Id="rId2" Type="http://schemas.openxmlformats.org/officeDocument/2006/relationships/customXml" Target="../../customXml/item49.xml"/><Relationship Id="rId1" Type="http://schemas.openxmlformats.org/officeDocument/2006/relationships/customXml" Target="../../customXml/item18.xml"/><Relationship Id="rId6" Type="http://schemas.openxmlformats.org/officeDocument/2006/relationships/image" Target="../media/image11.png"/><Relationship Id="rId5" Type="http://schemas.openxmlformats.org/officeDocument/2006/relationships/image" Target="../media/image2.png"/><Relationship Id="rId4"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hyperlink" Target="http://technet.microsoft.com/en-us/library/dn268294.aspx" TargetMode="External"/><Relationship Id="rId2" Type="http://schemas.openxmlformats.org/officeDocument/2006/relationships/hyperlink" Target="http://www.windowsazure.com/en-us/documentation/services/active-directory/" TargetMode="External"/><Relationship Id="rId1" Type="http://schemas.openxmlformats.org/officeDocument/2006/relationships/slideLayout" Target="../slideLayouts/slideLayout18.xml"/><Relationship Id="rId5" Type="http://schemas.openxmlformats.org/officeDocument/2006/relationships/hyperlink" Target="http://www.cloudidentity.com/" TargetMode="External"/><Relationship Id="rId4" Type="http://schemas.openxmlformats.org/officeDocument/2006/relationships/hyperlink" Target="http://blogs.msdn.com/b/active_directory_team_blog/archive/2013/06/26/improved-windows-azure-active-directory-integration-with-asp-net-amp-visual-studio.aspx"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8.xml"/><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customXml" Target="../../customXml/item14.xml"/><Relationship Id="rId3" Type="http://schemas.openxmlformats.org/officeDocument/2006/relationships/customXml" Target="../../customXml/item3.xml"/><Relationship Id="rId7" Type="http://schemas.openxmlformats.org/officeDocument/2006/relationships/customXml" Target="../../customXml/item77.xml"/><Relationship Id="rId2" Type="http://schemas.openxmlformats.org/officeDocument/2006/relationships/customXml" Target="../../customXml/item59.xml"/><Relationship Id="rId1" Type="http://schemas.openxmlformats.org/officeDocument/2006/relationships/customXml" Target="../../customXml/item69.xml"/><Relationship Id="rId6" Type="http://schemas.openxmlformats.org/officeDocument/2006/relationships/customXml" Target="../../customXml/item65.xml"/><Relationship Id="rId11" Type="http://schemas.openxmlformats.org/officeDocument/2006/relationships/slideLayout" Target="../slideLayouts/slideLayout18.xml"/><Relationship Id="rId5" Type="http://schemas.openxmlformats.org/officeDocument/2006/relationships/customXml" Target="../../customXml/item51.xml"/><Relationship Id="rId10" Type="http://schemas.openxmlformats.org/officeDocument/2006/relationships/customXml" Target="../../customXml/item45.xml"/><Relationship Id="rId4" Type="http://schemas.openxmlformats.org/officeDocument/2006/relationships/customXml" Target="../../customXml/item33.xml"/><Relationship Id="rId9" Type="http://schemas.openxmlformats.org/officeDocument/2006/relationships/customXml" Target="../../customXml/item21.xml"/></Relationships>
</file>

<file path=ppt/slides/_rels/slide7.xml.rels><?xml version="1.0" encoding="UTF-8" standalone="yes"?>
<Relationships xmlns="http://schemas.openxmlformats.org/package/2006/relationships"><Relationship Id="rId3" Type="http://schemas.openxmlformats.org/officeDocument/2006/relationships/customXml" Target="../../customXml/item34.xml"/><Relationship Id="rId7" Type="http://schemas.openxmlformats.org/officeDocument/2006/relationships/image" Target="../media/image6.png"/><Relationship Id="rId2" Type="http://schemas.openxmlformats.org/officeDocument/2006/relationships/customXml" Target="../../customXml/item61.xml"/><Relationship Id="rId1" Type="http://schemas.openxmlformats.org/officeDocument/2006/relationships/customXml" Target="../../customXml/item1.xml"/><Relationship Id="rId6" Type="http://schemas.openxmlformats.org/officeDocument/2006/relationships/slideLayout" Target="../slideLayouts/slideLayout18.xml"/><Relationship Id="rId5" Type="http://schemas.openxmlformats.org/officeDocument/2006/relationships/customXml" Target="../../customXml/item22.xml"/><Relationship Id="rId4" Type="http://schemas.openxmlformats.org/officeDocument/2006/relationships/customXml" Target="../../customXml/item7.xml"/></Relationships>
</file>

<file path=ppt/slides/_rels/slide8.xml.rels><?xml version="1.0" encoding="UTF-8" standalone="yes"?>
<Relationships xmlns="http://schemas.openxmlformats.org/package/2006/relationships"><Relationship Id="rId3" Type="http://schemas.openxmlformats.org/officeDocument/2006/relationships/customXml" Target="../../customXml/item53.xml"/><Relationship Id="rId2" Type="http://schemas.openxmlformats.org/officeDocument/2006/relationships/customXml" Target="../../customXml/item62.xml"/><Relationship Id="rId1" Type="http://schemas.openxmlformats.org/officeDocument/2006/relationships/customXml" Target="../../customXml/item71.xml"/><Relationship Id="rId6" Type="http://schemas.openxmlformats.org/officeDocument/2006/relationships/slideLayout" Target="../slideLayouts/slideLayout19.xml"/><Relationship Id="rId5" Type="http://schemas.openxmlformats.org/officeDocument/2006/relationships/customXml" Target="../../customXml/item58.xml"/><Relationship Id="rId4" Type="http://schemas.openxmlformats.org/officeDocument/2006/relationships/customXml" Target="../../customXml/item4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970008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ADFS in Windows Server 2012 R2</a:t>
            </a:r>
            <a:endParaRPr lang="en-US" sz="4400" dirty="0"/>
          </a:p>
        </p:txBody>
      </p:sp>
      <p:sp>
        <p:nvSpPr>
          <p:cNvPr id="3" name="Text Placeholder 2"/>
          <p:cNvSpPr>
            <a:spLocks noGrp="1"/>
          </p:cNvSpPr>
          <p:nvPr>
            <p:ph type="body" sz="quarter" idx="10"/>
          </p:nvPr>
        </p:nvSpPr>
        <p:spPr/>
        <p:txBody>
          <a:bodyPr/>
          <a:lstStyle/>
          <a:p>
            <a:r>
              <a:rPr lang="en-US" dirty="0" smtClean="0"/>
              <a:t>New! OAuth2 code grant</a:t>
            </a:r>
          </a:p>
          <a:p>
            <a:pPr lvl="1"/>
            <a:r>
              <a:rPr lang="en-US" sz="2400" dirty="0"/>
              <a:t>Resources </a:t>
            </a:r>
            <a:r>
              <a:rPr lang="en-US" sz="2400" dirty="0" smtClean="0"/>
              <a:t>represented as classic Relying Party Trust entries</a:t>
            </a:r>
            <a:endParaRPr lang="en-US" sz="2400" dirty="0"/>
          </a:p>
          <a:p>
            <a:pPr lvl="1"/>
            <a:r>
              <a:rPr lang="en-US" sz="2400" dirty="0"/>
              <a:t>Clients registered via PowerShell</a:t>
            </a:r>
          </a:p>
          <a:p>
            <a:pPr lvl="2"/>
            <a:r>
              <a:rPr lang="en-US" sz="2000" dirty="0">
                <a:gradFill>
                  <a:gsLst>
                    <a:gs pos="100000">
                      <a:schemeClr val="tx1">
                        <a:lumMod val="75000"/>
                        <a:lumOff val="25000"/>
                      </a:schemeClr>
                    </a:gs>
                    <a:gs pos="0">
                      <a:schemeClr val="tx1">
                        <a:lumMod val="75000"/>
                        <a:lumOff val="25000"/>
                      </a:schemeClr>
                    </a:gs>
                  </a:gsLst>
                  <a:lin ang="5400000" scaled="0"/>
                </a:gradFill>
              </a:rPr>
              <a:t>No permission table entry necessary</a:t>
            </a:r>
          </a:p>
          <a:p>
            <a:pPr lvl="1"/>
            <a:r>
              <a:rPr lang="en-US" sz="2400" dirty="0"/>
              <a:t>Support for JWT format</a:t>
            </a:r>
          </a:p>
          <a:p>
            <a:r>
              <a:rPr lang="en-US" dirty="0" smtClean="0"/>
              <a:t>New! Registered devices authentication</a:t>
            </a:r>
          </a:p>
          <a:p>
            <a:pPr lvl="1"/>
            <a:r>
              <a:rPr lang="en-US" sz="2400" dirty="0"/>
              <a:t>More details later in the session</a:t>
            </a:r>
          </a:p>
        </p:txBody>
      </p:sp>
    </p:spTree>
    <p:extLst>
      <p:ext uri="{BB962C8B-B14F-4D97-AF65-F5344CB8AC3E}">
        <p14:creationId xmlns:p14="http://schemas.microsoft.com/office/powerpoint/2010/main" val="23465558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279316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800" dirty="0" smtClean="0"/>
              <a:t>Access resources outside of the corporate network.</a:t>
            </a:r>
          </a:p>
          <a:p>
            <a:r>
              <a:rPr lang="en-US" sz="2400" dirty="0" smtClean="0">
                <a:latin typeface="+mn-lt"/>
              </a:rPr>
              <a:t>Use OAuth2.</a:t>
            </a:r>
          </a:p>
          <a:p>
            <a:pPr lvl="2"/>
            <a:r>
              <a:rPr lang="en-US" sz="2000" dirty="0" smtClean="0"/>
              <a:t>Register client app and resources in Active Directory</a:t>
            </a:r>
          </a:p>
          <a:p>
            <a:pPr lvl="2"/>
            <a:r>
              <a:rPr lang="en-US" sz="2000" dirty="0" smtClean="0"/>
              <a:t>Get and use access tokens</a:t>
            </a:r>
            <a:endParaRPr lang="en-US" sz="2000" dirty="0"/>
          </a:p>
          <a:p>
            <a:r>
              <a:rPr lang="en-US" sz="2800" dirty="0" smtClean="0"/>
              <a:t>Handle authentication and session mechanics.</a:t>
            </a:r>
          </a:p>
          <a:p>
            <a:r>
              <a:rPr lang="en-US" sz="2800" dirty="0" smtClean="0"/>
              <a:t>Apply access policies on non-domain joined devices.</a:t>
            </a:r>
          </a:p>
        </p:txBody>
      </p:sp>
      <p:sp>
        <p:nvSpPr>
          <p:cNvPr id="4" name="Content Placeholder 3"/>
          <p:cNvSpPr>
            <a:spLocks noGrp="1"/>
          </p:cNvSpPr>
          <p:nvPr>
            <p:ph type="body" sz="quarter" idx="11"/>
          </p:nvPr>
        </p:nvSpPr>
        <p:spPr/>
        <p:txBody>
          <a:bodyPr/>
          <a:lstStyle/>
          <a:p>
            <a:r>
              <a:rPr lang="en-US" sz="2000" dirty="0" smtClean="0"/>
              <a:t>Tackle those, and you’ve got yourself a nice business app.</a:t>
            </a:r>
          </a:p>
        </p:txBody>
      </p:sp>
      <p:sp>
        <p:nvSpPr>
          <p:cNvPr id="3" name="Title 2"/>
          <p:cNvSpPr>
            <a:spLocks noGrp="1"/>
          </p:cNvSpPr>
          <p:nvPr>
            <p:ph type="title"/>
          </p:nvPr>
        </p:nvSpPr>
        <p:spPr/>
        <p:txBody>
          <a:bodyPr/>
          <a:lstStyle/>
          <a:p>
            <a:r>
              <a:rPr lang="en-US" dirty="0" smtClean="0"/>
              <a:t>Checklist</a:t>
            </a:r>
            <a:endParaRPr lang="en-US" dirty="0"/>
          </a:p>
        </p:txBody>
      </p:sp>
      <p:sp>
        <p:nvSpPr>
          <p:cNvPr id="5" name="Rectangle 4"/>
          <p:cNvSpPr/>
          <p:nvPr/>
        </p:nvSpPr>
        <p:spPr bwMode="auto">
          <a:xfrm>
            <a:off x="3170237" y="1897062"/>
            <a:ext cx="304800" cy="304800"/>
          </a:xfrm>
          <a:prstGeom prst="rect">
            <a:avLst/>
          </a:prstGeom>
          <a:solidFill>
            <a:srgbClr val="00188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3170237" y="3573462"/>
            <a:ext cx="304800" cy="304800"/>
          </a:xfrm>
          <a:prstGeom prst="rect">
            <a:avLst/>
          </a:prstGeom>
          <a:solidFill>
            <a:srgbClr val="00188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3170237" y="4106862"/>
            <a:ext cx="304800" cy="304800"/>
          </a:xfrm>
          <a:prstGeom prst="rect">
            <a:avLst/>
          </a:prstGeom>
          <a:solidFill>
            <a:srgbClr val="00188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2805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andle authentication and session mechanics</a:t>
            </a:r>
          </a:p>
        </p:txBody>
      </p:sp>
    </p:spTree>
    <p:extLst>
      <p:ext uri="{BB962C8B-B14F-4D97-AF65-F5344CB8AC3E}">
        <p14:creationId xmlns:p14="http://schemas.microsoft.com/office/powerpoint/2010/main" val="4035545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Windows Azure Authentication Library (AAL)</a:t>
            </a:r>
            <a:endParaRPr lang="en-US" sz="4800" dirty="0"/>
          </a:p>
        </p:txBody>
      </p:sp>
      <p:sp>
        <p:nvSpPr>
          <p:cNvPr id="3" name="Text Placeholder 2"/>
          <p:cNvSpPr>
            <a:spLocks noGrp="1"/>
          </p:cNvSpPr>
          <p:nvPr>
            <p:ph type="body" sz="quarter" idx="10"/>
          </p:nvPr>
        </p:nvSpPr>
        <p:spPr/>
        <p:txBody>
          <a:bodyPr/>
          <a:lstStyle/>
          <a:p>
            <a:r>
              <a:rPr lang="en-US" sz="2800" dirty="0" smtClean="0"/>
              <a:t>Helps developers to add authentication capabilities to rich client apps</a:t>
            </a:r>
          </a:p>
          <a:p>
            <a:pPr lvl="1"/>
            <a:r>
              <a:rPr lang="en-US" sz="2400" dirty="0" smtClean="0"/>
              <a:t>User authentication experience</a:t>
            </a:r>
          </a:p>
          <a:p>
            <a:pPr lvl="1"/>
            <a:r>
              <a:rPr lang="en-US" sz="2400" dirty="0" smtClean="0"/>
              <a:t>Obtaining tokens</a:t>
            </a:r>
          </a:p>
          <a:p>
            <a:pPr lvl="1"/>
            <a:r>
              <a:rPr lang="en-US" sz="2400" dirty="0" smtClean="0"/>
              <a:t>Token lifecycle management (caching, automatic token refresh, </a:t>
            </a:r>
            <a:r>
              <a:rPr lang="en-US" sz="2400" dirty="0" err="1" smtClean="0"/>
              <a:t>etc</a:t>
            </a:r>
            <a:r>
              <a:rPr lang="en-US" sz="2400" dirty="0" smtClean="0"/>
              <a:t>)</a:t>
            </a:r>
          </a:p>
          <a:p>
            <a:pPr lvl="1"/>
            <a:r>
              <a:rPr lang="en-US" sz="2400" dirty="0" smtClean="0"/>
              <a:t>Assisted authority discovery </a:t>
            </a:r>
          </a:p>
          <a:p>
            <a:r>
              <a:rPr lang="en-US" sz="2800" dirty="0" smtClean="0"/>
              <a:t>Works with both Windows Azure AD and Windows Server 2012 R2 ADFS</a:t>
            </a:r>
          </a:p>
          <a:p>
            <a:r>
              <a:rPr lang="en-US" sz="2800" dirty="0" smtClean="0"/>
              <a:t>Ships </a:t>
            </a:r>
            <a:r>
              <a:rPr lang="en-US" sz="2800" dirty="0"/>
              <a:t>out of band as NuGet package</a:t>
            </a:r>
          </a:p>
          <a:p>
            <a:pPr lvl="1"/>
            <a:r>
              <a:rPr lang="en-US" sz="2400" dirty="0" smtClean="0"/>
              <a:t>.NET and Windows Store in </a:t>
            </a:r>
            <a:r>
              <a:rPr lang="en-US" sz="2400" dirty="0"/>
              <a:t>developer </a:t>
            </a:r>
            <a:r>
              <a:rPr lang="en-US" sz="2400" dirty="0" smtClean="0"/>
              <a:t>preview</a:t>
            </a:r>
          </a:p>
          <a:p>
            <a:pPr lvl="2"/>
            <a:r>
              <a:rPr lang="en-US" sz="2000" dirty="0">
                <a:gradFill>
                  <a:gsLst>
                    <a:gs pos="100000">
                      <a:schemeClr val="tx1">
                        <a:lumMod val="75000"/>
                        <a:lumOff val="25000"/>
                      </a:schemeClr>
                    </a:gs>
                    <a:gs pos="0">
                      <a:schemeClr val="tx1">
                        <a:lumMod val="75000"/>
                        <a:lumOff val="25000"/>
                      </a:schemeClr>
                    </a:gs>
                  </a:gsLst>
                  <a:lin ang="5400000" scaled="0"/>
                </a:gradFill>
              </a:rPr>
              <a:t>details </a:t>
            </a:r>
            <a:r>
              <a:rPr lang="en-US" sz="2000" dirty="0">
                <a:gradFill>
                  <a:gsLst>
                    <a:gs pos="100000">
                      <a:schemeClr val="tx1">
                        <a:lumMod val="75000"/>
                        <a:lumOff val="25000"/>
                      </a:schemeClr>
                    </a:gs>
                    <a:gs pos="0">
                      <a:schemeClr val="tx1">
                        <a:lumMod val="75000"/>
                        <a:lumOff val="25000"/>
                      </a:schemeClr>
                    </a:gs>
                  </a:gsLst>
                  <a:lin ang="5400000" scaled="0"/>
                </a:gradFill>
                <a:hlinkClick r:id="rId2"/>
              </a:rPr>
              <a:t>here</a:t>
            </a:r>
            <a:endParaRPr lang="en-US" sz="2000" dirty="0">
              <a:gradFill>
                <a:gsLst>
                  <a:gs pos="100000">
                    <a:schemeClr val="tx1">
                      <a:lumMod val="75000"/>
                      <a:lumOff val="25000"/>
                    </a:schemeClr>
                  </a:gs>
                  <a:gs pos="0">
                    <a:schemeClr val="tx1">
                      <a:lumMod val="75000"/>
                      <a:lumOff val="25000"/>
                    </a:schemeClr>
                  </a:gs>
                </a:gsLst>
                <a:lin ang="5400000" scaled="0"/>
              </a:gradFill>
            </a:endParaRPr>
          </a:p>
          <a:p>
            <a:pPr lvl="2"/>
            <a:r>
              <a:rPr lang="en-US" sz="2000" dirty="0">
                <a:gradFill>
                  <a:gsLst>
                    <a:gs pos="100000">
                      <a:schemeClr val="tx1">
                        <a:lumMod val="75000"/>
                        <a:lumOff val="25000"/>
                      </a:schemeClr>
                    </a:gs>
                    <a:gs pos="0">
                      <a:schemeClr val="tx1">
                        <a:lumMod val="75000"/>
                        <a:lumOff val="25000"/>
                      </a:schemeClr>
                    </a:gs>
                  </a:gsLst>
                  <a:lin ang="5400000" scaled="0"/>
                </a:gradFill>
              </a:rPr>
              <a:t>download from VS2012 or </a:t>
            </a:r>
            <a:r>
              <a:rPr lang="en-US" sz="2000" dirty="0">
                <a:gradFill>
                  <a:gsLst>
                    <a:gs pos="100000">
                      <a:schemeClr val="tx1">
                        <a:lumMod val="75000"/>
                        <a:lumOff val="25000"/>
                      </a:schemeClr>
                    </a:gs>
                    <a:gs pos="0">
                      <a:schemeClr val="tx1">
                        <a:lumMod val="75000"/>
                        <a:lumOff val="25000"/>
                      </a:schemeClr>
                    </a:gs>
                  </a:gsLst>
                  <a:lin ang="5400000" scaled="0"/>
                </a:gradFill>
                <a:hlinkClick r:id="rId3"/>
              </a:rPr>
              <a:t>here</a:t>
            </a:r>
            <a:endParaRPr lang="en-US" sz="2000" dirty="0">
              <a:gradFill>
                <a:gsLst>
                  <a:gs pos="100000">
                    <a:schemeClr val="tx1">
                      <a:lumMod val="75000"/>
                      <a:lumOff val="25000"/>
                    </a:schemeClr>
                  </a:gs>
                  <a:gs pos="0">
                    <a:schemeClr val="tx1">
                      <a:lumMod val="75000"/>
                      <a:lumOff val="25000"/>
                    </a:schemeClr>
                  </a:gs>
                </a:gsLst>
                <a:lin ang="5400000" scaled="0"/>
              </a:gradFill>
            </a:endParaRPr>
          </a:p>
          <a:p>
            <a:endParaRPr lang="en-US" sz="3200" dirty="0"/>
          </a:p>
        </p:txBody>
      </p:sp>
    </p:spTree>
    <p:extLst>
      <p:ext uri="{BB962C8B-B14F-4D97-AF65-F5344CB8AC3E}">
        <p14:creationId xmlns:p14="http://schemas.microsoft.com/office/powerpoint/2010/main" val="36188665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 calcmode="lin" valueType="num">
                                      <p:cBhvr additive="base">
                                        <p:cTn id="23" dur="500" fill="hold"/>
                                        <p:tgtEl>
                                          <p:spTgt spid="3">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3">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fill="hold" grpId="0" nodeType="click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 calcmode="lin" valueType="num">
                                      <p:cBhvr additive="base">
                                        <p:cTn id="29" dur="500" fill="hold"/>
                                        <p:tgtEl>
                                          <p:spTgt spid="3">
                                            <p:txEl>
                                              <p:pRg st="5" end="5"/>
                                            </p:txEl>
                                          </p:spTgt>
                                        </p:tgtEl>
                                        <p:attrNameLst>
                                          <p:attrName>ppt_x</p:attrName>
                                        </p:attrNameLst>
                                      </p:cBhvr>
                                      <p:tavLst>
                                        <p:tav tm="0">
                                          <p:val>
                                            <p:strVal val="1+#ppt_w/2"/>
                                          </p:val>
                                        </p:tav>
                                        <p:tav tm="100000">
                                          <p:val>
                                            <p:strVal val="#ppt_x"/>
                                          </p:val>
                                        </p:tav>
                                      </p:tavLst>
                                    </p:anim>
                                    <p:anim calcmode="lin" valueType="num">
                                      <p:cBhvr additive="base">
                                        <p:cTn id="30" dur="500" fill="hold"/>
                                        <p:tgtEl>
                                          <p:spTgt spid="3">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2" fill="hold" grpId="0"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 calcmode="lin" valueType="num">
                                      <p:cBhvr additive="base">
                                        <p:cTn id="35" dur="500" fill="hold"/>
                                        <p:tgtEl>
                                          <p:spTgt spid="3">
                                            <p:txEl>
                                              <p:pRg st="6" end="6"/>
                                            </p:txEl>
                                          </p:spTgt>
                                        </p:tgtEl>
                                        <p:attrNameLst>
                                          <p:attrName>ppt_x</p:attrName>
                                        </p:attrNameLst>
                                      </p:cBhvr>
                                      <p:tavLst>
                                        <p:tav tm="0">
                                          <p:val>
                                            <p:strVal val="1+#ppt_w/2"/>
                                          </p:val>
                                        </p:tav>
                                        <p:tav tm="100000">
                                          <p:val>
                                            <p:strVal val="#ppt_x"/>
                                          </p:val>
                                        </p:tav>
                                      </p:tavLst>
                                    </p:anim>
                                    <p:anim calcmode="lin" valueType="num">
                                      <p:cBhvr additive="base">
                                        <p:cTn id="36" dur="500" fill="hold"/>
                                        <p:tgtEl>
                                          <p:spTgt spid="3">
                                            <p:txEl>
                                              <p:pRg st="6" end="6"/>
                                            </p:txEl>
                                          </p:spTgt>
                                        </p:tgtEl>
                                        <p:attrNameLst>
                                          <p:attrName>ppt_y</p:attrName>
                                        </p:attrNameLst>
                                      </p:cBhvr>
                                      <p:tavLst>
                                        <p:tav tm="0">
                                          <p:val>
                                            <p:strVal val="#ppt_y"/>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 calcmode="lin" valueType="num">
                                      <p:cBhvr additive="base">
                                        <p:cTn id="39" dur="500" fill="hold"/>
                                        <p:tgtEl>
                                          <p:spTgt spid="3">
                                            <p:txEl>
                                              <p:pRg st="7" end="7"/>
                                            </p:txEl>
                                          </p:spTgt>
                                        </p:tgtEl>
                                        <p:attrNameLst>
                                          <p:attrName>ppt_x</p:attrName>
                                        </p:attrNameLst>
                                      </p:cBhvr>
                                      <p:tavLst>
                                        <p:tav tm="0">
                                          <p:val>
                                            <p:strVal val="1+#ppt_w/2"/>
                                          </p:val>
                                        </p:tav>
                                        <p:tav tm="100000">
                                          <p:val>
                                            <p:strVal val="#ppt_x"/>
                                          </p:val>
                                        </p:tav>
                                      </p:tavLst>
                                    </p:anim>
                                    <p:anim calcmode="lin" valueType="num">
                                      <p:cBhvr additive="base">
                                        <p:cTn id="40" dur="500" fill="hold"/>
                                        <p:tgtEl>
                                          <p:spTgt spid="3">
                                            <p:txEl>
                                              <p:pRg st="7" end="7"/>
                                            </p:txEl>
                                          </p:spTgt>
                                        </p:tgtEl>
                                        <p:attrNameLst>
                                          <p:attrName>ppt_y</p:attrName>
                                        </p:attrNameLst>
                                      </p:cBhvr>
                                      <p:tavLst>
                                        <p:tav tm="0">
                                          <p:val>
                                            <p:strVal val="#ppt_y"/>
                                          </p:val>
                                        </p:tav>
                                        <p:tav tm="100000">
                                          <p:val>
                                            <p:strVal val="#ppt_y"/>
                                          </p:val>
                                        </p:tav>
                                      </p:tavLst>
                                    </p:anim>
                                  </p:childTnLst>
                                </p:cTn>
                              </p:par>
                              <p:par>
                                <p:cTn id="41" presetID="2" presetClass="entr" presetSubtype="2" fill="hold" grpId="0" nodeType="with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anim calcmode="lin" valueType="num">
                                      <p:cBhvr additive="base">
                                        <p:cTn id="43" dur="500" fill="hold"/>
                                        <p:tgtEl>
                                          <p:spTgt spid="3">
                                            <p:txEl>
                                              <p:pRg st="8" end="8"/>
                                            </p:txEl>
                                          </p:spTgt>
                                        </p:tgtEl>
                                        <p:attrNameLst>
                                          <p:attrName>ppt_x</p:attrName>
                                        </p:attrNameLst>
                                      </p:cBhvr>
                                      <p:tavLst>
                                        <p:tav tm="0">
                                          <p:val>
                                            <p:strVal val="1+#ppt_w/2"/>
                                          </p:val>
                                        </p:tav>
                                        <p:tav tm="100000">
                                          <p:val>
                                            <p:strVal val="#ppt_x"/>
                                          </p:val>
                                        </p:tav>
                                      </p:tavLst>
                                    </p:anim>
                                    <p:anim calcmode="lin" valueType="num">
                                      <p:cBhvr additive="base">
                                        <p:cTn id="44" dur="500" fill="hold"/>
                                        <p:tgtEl>
                                          <p:spTgt spid="3">
                                            <p:txEl>
                                              <p:pRg st="8" end="8"/>
                                            </p:txEl>
                                          </p:spTgt>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0"/>
                                  </p:stCondLst>
                                  <p:childTnLst>
                                    <p:set>
                                      <p:cBhvr>
                                        <p:cTn id="46" dur="1" fill="hold">
                                          <p:stCondLst>
                                            <p:cond delay="0"/>
                                          </p:stCondLst>
                                        </p:cTn>
                                        <p:tgtEl>
                                          <p:spTgt spid="3">
                                            <p:txEl>
                                              <p:pRg st="9" end="9"/>
                                            </p:txEl>
                                          </p:spTgt>
                                        </p:tgtEl>
                                        <p:attrNameLst>
                                          <p:attrName>style.visibility</p:attrName>
                                        </p:attrNameLst>
                                      </p:cBhvr>
                                      <p:to>
                                        <p:strVal val="visible"/>
                                      </p:to>
                                    </p:set>
                                    <p:anim calcmode="lin" valueType="num">
                                      <p:cBhvr additive="base">
                                        <p:cTn id="47" dur="500" fill="hold"/>
                                        <p:tgtEl>
                                          <p:spTgt spid="3">
                                            <p:txEl>
                                              <p:pRg st="9" end="9"/>
                                            </p:txEl>
                                          </p:spTgt>
                                        </p:tgtEl>
                                        <p:attrNameLst>
                                          <p:attrName>ppt_x</p:attrName>
                                        </p:attrNameLst>
                                      </p:cBhvr>
                                      <p:tavLst>
                                        <p:tav tm="0">
                                          <p:val>
                                            <p:strVal val="1+#ppt_w/2"/>
                                          </p:val>
                                        </p:tav>
                                        <p:tav tm="100000">
                                          <p:val>
                                            <p:strVal val="#ppt_x"/>
                                          </p:val>
                                        </p:tav>
                                      </p:tavLst>
                                    </p:anim>
                                    <p:anim calcmode="lin" valueType="num">
                                      <p:cBhvr additive="base">
                                        <p:cTn id="48" dur="500" fill="hold"/>
                                        <p:tgtEl>
                                          <p:spTgt spid="3">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2000" dirty="0" smtClean="0"/>
              <a:t>AAL is a Windows Runtime Component</a:t>
            </a:r>
            <a:endParaRPr lang="en-US" sz="2000" dirty="0"/>
          </a:p>
        </p:txBody>
      </p:sp>
      <p:sp>
        <p:nvSpPr>
          <p:cNvPr id="24" name="Title 23"/>
          <p:cNvSpPr>
            <a:spLocks noGrp="1"/>
          </p:cNvSpPr>
          <p:nvPr>
            <p:ph type="title"/>
          </p:nvPr>
        </p:nvSpPr>
        <p:spPr>
          <a:xfrm>
            <a:off x="274638" y="298450"/>
            <a:ext cx="11887199" cy="912813"/>
          </a:xfrm>
        </p:spPr>
        <p:txBody>
          <a:bodyPr>
            <a:normAutofit fontScale="90000"/>
          </a:bodyPr>
          <a:lstStyle/>
          <a:p>
            <a:r>
              <a:rPr lang="en-US" dirty="0" smtClean="0"/>
              <a:t>Windows Azure Authentication Library</a:t>
            </a:r>
            <a:endParaRPr lang="en-US" dirty="0"/>
          </a:p>
        </p:txBody>
      </p:sp>
      <p:sp>
        <p:nvSpPr>
          <p:cNvPr id="23" name="Rectangle 22"/>
          <p:cNvSpPr/>
          <p:nvPr/>
        </p:nvSpPr>
        <p:spPr>
          <a:xfrm>
            <a:off x="4021823" y="5388343"/>
            <a:ext cx="8033690" cy="963827"/>
          </a:xfrm>
          <a:prstGeom prst="rect">
            <a:avLst/>
          </a:prstGeom>
          <a:solidFill>
            <a:schemeClr val="accent1">
              <a:lumMod val="40000"/>
              <a:lumOff val="60000"/>
            </a:schemeClr>
          </a:solidFill>
          <a:ln>
            <a:noFill/>
          </a:ln>
          <a:effectLst/>
        </p:spPr>
        <p:style>
          <a:lnRef idx="1">
            <a:schemeClr val="accent1"/>
          </a:lnRef>
          <a:fillRef idx="2">
            <a:schemeClr val="accent1"/>
          </a:fillRef>
          <a:effectRef idx="1">
            <a:schemeClr val="accent1"/>
          </a:effectRef>
          <a:fontRef idx="minor">
            <a:schemeClr val="dk1"/>
          </a:fontRef>
        </p:style>
        <p:txBody>
          <a:bodyPr lIns="121725" tIns="60862" rIns="121725" bIns="60862" rtlCol="0" anchor="ctr"/>
          <a:lstStyle/>
          <a:p>
            <a:pPr algn="ctr"/>
            <a:r>
              <a:rPr lang="en-US" dirty="0">
                <a:solidFill>
                  <a:schemeClr val="accent1">
                    <a:lumMod val="75000"/>
                  </a:schemeClr>
                </a:solidFill>
              </a:rPr>
              <a:t>OS</a:t>
            </a:r>
          </a:p>
        </p:txBody>
      </p:sp>
      <p:sp>
        <p:nvSpPr>
          <p:cNvPr id="25" name="Rectangle 24"/>
          <p:cNvSpPr/>
          <p:nvPr/>
        </p:nvSpPr>
        <p:spPr>
          <a:xfrm>
            <a:off x="4021823" y="4314552"/>
            <a:ext cx="8033690" cy="9638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smtClean="0">
                <a:solidFill>
                  <a:srgbClr val="FFFFFF"/>
                </a:solidFill>
                <a:latin typeface="Segoe UI Light" panose="020B0502040204020203" pitchFamily="34" charset="0"/>
                <a:cs typeface="Segoe UI Light" panose="020B0502040204020203" pitchFamily="34" charset="0"/>
              </a:rPr>
              <a:t>Windows Runtime (WinRT)</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6" name="Rectangle 25"/>
          <p:cNvSpPr/>
          <p:nvPr/>
        </p:nvSpPr>
        <p:spPr>
          <a:xfrm>
            <a:off x="4021823" y="3745832"/>
            <a:ext cx="8033690" cy="4587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a:solidFill>
                  <a:srgbClr val="FFFFFF"/>
                </a:solidFill>
                <a:latin typeface="Segoe UI Light" panose="020B0502040204020203" pitchFamily="34" charset="0"/>
                <a:cs typeface="Segoe UI Light" panose="020B0502040204020203" pitchFamily="34" charset="0"/>
              </a:rPr>
              <a:t>AAL for Windows Store .WINMD</a:t>
            </a:r>
          </a:p>
        </p:txBody>
      </p:sp>
      <p:sp>
        <p:nvSpPr>
          <p:cNvPr id="27" name="Rectangle 26"/>
          <p:cNvSpPr/>
          <p:nvPr/>
        </p:nvSpPr>
        <p:spPr>
          <a:xfrm>
            <a:off x="4021823" y="2685835"/>
            <a:ext cx="3898283" cy="9638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smtClean="0">
                <a:solidFill>
                  <a:srgbClr val="FFFFFF"/>
                </a:solidFill>
                <a:latin typeface="Segoe UI Light" panose="020B0502040204020203" pitchFamily="34" charset="0"/>
                <a:cs typeface="Segoe UI Light" panose="020B0502040204020203" pitchFamily="34" charset="0"/>
              </a:rPr>
              <a:t>C#</a:t>
            </a:r>
            <a:br>
              <a:rPr lang="en-US" dirty="0" smtClean="0">
                <a:solidFill>
                  <a:srgbClr val="FFFF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Windows Store App</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8" name="Rectangle 27"/>
          <p:cNvSpPr/>
          <p:nvPr/>
        </p:nvSpPr>
        <p:spPr>
          <a:xfrm>
            <a:off x="8123237" y="2673453"/>
            <a:ext cx="3932276" cy="9638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smtClean="0">
                <a:solidFill>
                  <a:srgbClr val="FFFFFF"/>
                </a:solidFill>
                <a:latin typeface="Segoe UI Light" panose="020B0502040204020203" pitchFamily="34" charset="0"/>
                <a:cs typeface="Segoe UI Light" panose="020B0502040204020203" pitchFamily="34" charset="0"/>
              </a:rPr>
              <a:t>JS/HTML5</a:t>
            </a:r>
            <a:br>
              <a:rPr lang="en-US" dirty="0" smtClean="0">
                <a:solidFill>
                  <a:srgbClr val="FFFF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Windows Store App</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29" name="Right Brace 28"/>
          <p:cNvSpPr/>
          <p:nvPr/>
        </p:nvSpPr>
        <p:spPr>
          <a:xfrm flipH="1">
            <a:off x="3694716" y="2696150"/>
            <a:ext cx="278029" cy="1508438"/>
          </a:xfrm>
          <a:prstGeom prst="rightBrace">
            <a:avLst>
              <a:gd name="adj1" fmla="val 29955"/>
              <a:gd name="adj2" fmla="val 50408"/>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742"/>
            <a:endParaRPr lang="en-US">
              <a:solidFill>
                <a:srgbClr val="FFFFFF"/>
              </a:solidFill>
            </a:endParaRPr>
          </a:p>
        </p:txBody>
      </p:sp>
      <p:sp>
        <p:nvSpPr>
          <p:cNvPr id="30" name="Right Brace 29"/>
          <p:cNvSpPr/>
          <p:nvPr/>
        </p:nvSpPr>
        <p:spPr>
          <a:xfrm flipH="1">
            <a:off x="3694715" y="4308042"/>
            <a:ext cx="278029" cy="2044128"/>
          </a:xfrm>
          <a:prstGeom prst="rightBrace">
            <a:avLst>
              <a:gd name="adj1" fmla="val 29955"/>
              <a:gd name="adj2" fmla="val 50408"/>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742"/>
            <a:endParaRPr lang="en-US">
              <a:solidFill>
                <a:srgbClr val="FFFFFF"/>
              </a:solidFill>
            </a:endParaRPr>
          </a:p>
        </p:txBody>
      </p:sp>
      <p:sp>
        <p:nvSpPr>
          <p:cNvPr id="31" name="TextBox 30"/>
          <p:cNvSpPr txBox="1"/>
          <p:nvPr/>
        </p:nvSpPr>
        <p:spPr>
          <a:xfrm>
            <a:off x="2431651" y="3247590"/>
            <a:ext cx="1342034" cy="369332"/>
          </a:xfrm>
          <a:prstGeom prst="rect">
            <a:avLst/>
          </a:prstGeom>
          <a:noFill/>
        </p:spPr>
        <p:txBody>
          <a:bodyPr wrap="none" rtlCol="0">
            <a:spAutoFit/>
          </a:bodyPr>
          <a:lstStyle/>
          <a:p>
            <a:pPr defTabSz="932742"/>
            <a:r>
              <a:rPr lang="en-US" dirty="0" smtClean="0"/>
              <a:t>Application</a:t>
            </a:r>
            <a:endParaRPr lang="en-US" dirty="0"/>
          </a:p>
        </p:txBody>
      </p:sp>
      <p:sp>
        <p:nvSpPr>
          <p:cNvPr id="32" name="TextBox 31"/>
          <p:cNvSpPr txBox="1"/>
          <p:nvPr/>
        </p:nvSpPr>
        <p:spPr>
          <a:xfrm>
            <a:off x="2836255" y="5145440"/>
            <a:ext cx="908518" cy="369332"/>
          </a:xfrm>
          <a:prstGeom prst="rect">
            <a:avLst/>
          </a:prstGeom>
          <a:noFill/>
        </p:spPr>
        <p:txBody>
          <a:bodyPr wrap="none" rtlCol="0">
            <a:spAutoFit/>
          </a:bodyPr>
          <a:lstStyle/>
          <a:p>
            <a:pPr defTabSz="932742"/>
            <a:r>
              <a:rPr lang="en-US" dirty="0" smtClean="0"/>
              <a:t>System</a:t>
            </a:r>
            <a:endParaRPr lang="en-US" dirty="0"/>
          </a:p>
        </p:txBody>
      </p:sp>
    </p:spTree>
    <p:extLst>
      <p:ext uri="{BB962C8B-B14F-4D97-AF65-F5344CB8AC3E}">
        <p14:creationId xmlns:p14="http://schemas.microsoft.com/office/powerpoint/2010/main" val="152662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ssential AAL Usage (C#)</a:t>
            </a:r>
            <a:endParaRPr lang="en-US" dirty="0"/>
          </a:p>
        </p:txBody>
      </p:sp>
      <p:sp>
        <p:nvSpPr>
          <p:cNvPr id="10" name="Rectangle 9"/>
          <p:cNvSpPr/>
          <p:nvPr/>
        </p:nvSpPr>
        <p:spPr>
          <a:xfrm>
            <a:off x="282704" y="2041605"/>
            <a:ext cx="12015976" cy="1477328"/>
          </a:xfrm>
          <a:prstGeom prst="rect">
            <a:avLst/>
          </a:prstGeom>
        </p:spPr>
        <p:txBody>
          <a:bodyPr wrap="square">
            <a:spAutoFit/>
          </a:bodyPr>
          <a:lstStyle/>
          <a:p>
            <a:pPr defTabSz="914400"/>
            <a:r>
              <a:rPr lang="en-US" dirty="0" smtClean="0">
                <a:solidFill>
                  <a:srgbClr val="33CCCC"/>
                </a:solidFill>
                <a:latin typeface="Consolas" panose="020B0609020204030204" pitchFamily="49" charset="0"/>
                <a:cs typeface="Consolas" panose="020B0609020204030204" pitchFamily="49" charset="0"/>
              </a:rPr>
              <a:t>AuthenticationContext</a:t>
            </a:r>
            <a:r>
              <a:rPr lang="en-US" dirty="0" smtClean="0">
                <a:solidFill>
                  <a:prstClr val="black"/>
                </a:solidFill>
                <a:latin typeface="Consolas" panose="020B0609020204030204" pitchFamily="49" charset="0"/>
                <a:cs typeface="Consolas" panose="020B0609020204030204" pitchFamily="49" charset="0"/>
              </a:rPr>
              <a:t> </a:t>
            </a:r>
            <a:r>
              <a:rPr lang="en-US" dirty="0" err="1" smtClean="0">
                <a:solidFill>
                  <a:prstClr val="black"/>
                </a:solidFill>
                <a:latin typeface="Consolas" panose="020B0609020204030204" pitchFamily="49" charset="0"/>
                <a:cs typeface="Consolas" panose="020B0609020204030204" pitchFamily="49" charset="0"/>
              </a:rPr>
              <a:t>aCtx</a:t>
            </a:r>
            <a:r>
              <a:rPr lang="en-US" dirty="0" smtClean="0">
                <a:solidFill>
                  <a:prstClr val="black"/>
                </a:solidFill>
                <a:latin typeface="Consolas" panose="020B0609020204030204" pitchFamily="49" charset="0"/>
                <a:cs typeface="Consolas" panose="020B0609020204030204" pitchFamily="49" charset="0"/>
              </a:rPr>
              <a:t> =</a:t>
            </a:r>
            <a:br>
              <a:rPr lang="en-US" dirty="0" smtClean="0">
                <a:solidFill>
                  <a:prstClr val="black"/>
                </a:solidFill>
                <a:latin typeface="Consolas" panose="020B0609020204030204" pitchFamily="49" charset="0"/>
                <a:cs typeface="Consolas" panose="020B0609020204030204" pitchFamily="49" charset="0"/>
              </a:rPr>
            </a:br>
            <a:r>
              <a:rPr lang="en-US" dirty="0" smtClean="0">
                <a:solidFill>
                  <a:prstClr val="black"/>
                </a:solidFill>
                <a:latin typeface="Consolas" panose="020B0609020204030204" pitchFamily="49" charset="0"/>
                <a:cs typeface="Consolas" panose="020B0609020204030204" pitchFamily="49" charset="0"/>
              </a:rPr>
              <a:t>   </a:t>
            </a:r>
            <a:r>
              <a:rPr lang="en-US" dirty="0" smtClean="0">
                <a:solidFill>
                  <a:srgbClr val="0070C0"/>
                </a:solidFill>
                <a:latin typeface="Consolas" panose="020B0609020204030204" pitchFamily="49" charset="0"/>
                <a:cs typeface="Consolas" panose="020B0609020204030204" pitchFamily="49" charset="0"/>
              </a:rPr>
              <a:t>new </a:t>
            </a:r>
            <a:r>
              <a:rPr lang="en-US" dirty="0" smtClean="0">
                <a:solidFill>
                  <a:srgbClr val="33CCCC"/>
                </a:solidFill>
                <a:latin typeface="Consolas" panose="020B0609020204030204" pitchFamily="49" charset="0"/>
                <a:cs typeface="Consolas" panose="020B0609020204030204" pitchFamily="49" charset="0"/>
              </a:rPr>
              <a:t>AuthenticationContext</a:t>
            </a:r>
            <a:r>
              <a:rPr lang="en-US" dirty="0" smtClean="0">
                <a:solidFill>
                  <a:prstClr val="black"/>
                </a:solidFill>
                <a:latin typeface="Consolas" panose="020B0609020204030204" pitchFamily="49" charset="0"/>
                <a:cs typeface="Consolas" panose="020B0609020204030204" pitchFamily="49" charset="0"/>
              </a:rPr>
              <a:t>(</a:t>
            </a:r>
            <a:r>
              <a:rPr lang="en-US" dirty="0" smtClean="0">
                <a:solidFill>
                  <a:srgbClr val="C00000"/>
                </a:solidFill>
                <a:latin typeface="Consolas" panose="020B0609020204030204" pitchFamily="49" charset="0"/>
                <a:cs typeface="Consolas" panose="020B0609020204030204" pitchFamily="49" charset="0"/>
              </a:rPr>
              <a:t>"https://login.windows.net/contoso.onmicrosoft.com"</a:t>
            </a:r>
            <a:r>
              <a:rPr lang="en-US" dirty="0" smtClean="0">
                <a:solidFill>
                  <a:prstClr val="black"/>
                </a:solidFill>
                <a:latin typeface="Consolas" panose="020B0609020204030204" pitchFamily="49" charset="0"/>
                <a:cs typeface="Consolas" panose="020B0609020204030204" pitchFamily="49" charset="0"/>
              </a:rPr>
              <a:t>);</a:t>
            </a:r>
          </a:p>
          <a:p>
            <a:pPr defTabSz="914400"/>
            <a:endParaRPr lang="en-US" dirty="0">
              <a:solidFill>
                <a:prstClr val="black"/>
              </a:solidFill>
              <a:latin typeface="Consolas" panose="020B0609020204030204" pitchFamily="49" charset="0"/>
              <a:cs typeface="Consolas" panose="020B0609020204030204" pitchFamily="49" charset="0"/>
            </a:endParaRPr>
          </a:p>
          <a:p>
            <a:pPr defTabSz="914400"/>
            <a:r>
              <a:rPr lang="en-US" dirty="0" err="1" smtClean="0">
                <a:solidFill>
                  <a:srgbClr val="33CCCC"/>
                </a:solidFill>
                <a:latin typeface="Consolas" panose="020B0609020204030204" pitchFamily="49" charset="0"/>
                <a:cs typeface="Consolas" panose="020B0609020204030204" pitchFamily="49" charset="0"/>
              </a:rPr>
              <a:t>AuthenticationResult</a:t>
            </a:r>
            <a:r>
              <a:rPr lang="en-US" dirty="0" smtClean="0">
                <a:solidFill>
                  <a:srgbClr val="33CCCC"/>
                </a:solidFill>
                <a:latin typeface="Consolas" panose="020B0609020204030204" pitchFamily="49" charset="0"/>
                <a:cs typeface="Consolas" panose="020B0609020204030204" pitchFamily="49" charset="0"/>
              </a:rPr>
              <a:t> </a:t>
            </a:r>
            <a:r>
              <a:rPr lang="en-US" dirty="0">
                <a:solidFill>
                  <a:prstClr val="black"/>
                </a:solidFill>
                <a:latin typeface="Consolas" panose="020B0609020204030204" pitchFamily="49" charset="0"/>
                <a:cs typeface="Consolas" panose="020B0609020204030204" pitchFamily="49" charset="0"/>
              </a:rPr>
              <a:t>result = </a:t>
            </a:r>
            <a:endParaRPr lang="en-US" dirty="0" smtClean="0">
              <a:solidFill>
                <a:prstClr val="black"/>
              </a:solidFill>
              <a:latin typeface="Consolas" panose="020B0609020204030204" pitchFamily="49" charset="0"/>
              <a:cs typeface="Consolas" panose="020B0609020204030204" pitchFamily="49" charset="0"/>
            </a:endParaRPr>
          </a:p>
          <a:p>
            <a:pPr defTabSz="914400"/>
            <a:r>
              <a:rPr lang="en-US" dirty="0">
                <a:solidFill>
                  <a:srgbClr val="0070C0"/>
                </a:solidFill>
                <a:latin typeface="Consolas" panose="020B0609020204030204" pitchFamily="49" charset="0"/>
                <a:cs typeface="Consolas" panose="020B0609020204030204" pitchFamily="49" charset="0"/>
              </a:rPr>
              <a:t> </a:t>
            </a:r>
            <a:r>
              <a:rPr lang="en-US" dirty="0" smtClean="0">
                <a:solidFill>
                  <a:srgbClr val="0070C0"/>
                </a:solidFill>
                <a:latin typeface="Consolas" panose="020B0609020204030204" pitchFamily="49" charset="0"/>
                <a:cs typeface="Consolas" panose="020B0609020204030204" pitchFamily="49" charset="0"/>
              </a:rPr>
              <a:t>  await</a:t>
            </a:r>
            <a:r>
              <a:rPr lang="en-US" dirty="0" smtClean="0">
                <a:solidFill>
                  <a:prstClr val="black"/>
                </a:solidFill>
                <a:latin typeface="Consolas" panose="020B0609020204030204" pitchFamily="49" charset="0"/>
                <a:cs typeface="Consolas" panose="020B0609020204030204" pitchFamily="49" charset="0"/>
              </a:rPr>
              <a:t> </a:t>
            </a:r>
            <a:r>
              <a:rPr lang="en-US" dirty="0" err="1">
                <a:solidFill>
                  <a:prstClr val="black"/>
                </a:solidFill>
                <a:latin typeface="Consolas" panose="020B0609020204030204" pitchFamily="49" charset="0"/>
                <a:cs typeface="Consolas" panose="020B0609020204030204" pitchFamily="49" charset="0"/>
              </a:rPr>
              <a:t>authorizationContext.AcquireTokenAsync</a:t>
            </a:r>
            <a:r>
              <a:rPr lang="en-US" dirty="0" smtClean="0">
                <a:solidFill>
                  <a:prstClr val="black"/>
                </a:solidFill>
                <a:latin typeface="Consolas" panose="020B0609020204030204" pitchFamily="49" charset="0"/>
                <a:cs typeface="Consolas" panose="020B0609020204030204" pitchFamily="49" charset="0"/>
              </a:rPr>
              <a:t>(</a:t>
            </a:r>
            <a:r>
              <a:rPr lang="en-US" dirty="0" smtClean="0">
                <a:solidFill>
                  <a:srgbClr val="C00000"/>
                </a:solidFill>
                <a:latin typeface="Consolas" panose="020B0609020204030204" pitchFamily="49" charset="0"/>
                <a:cs typeface="Consolas" panose="020B0609020204030204" pitchFamily="49" charset="0"/>
              </a:rPr>
              <a:t>"http://host.com/</a:t>
            </a:r>
            <a:r>
              <a:rPr lang="en-US" dirty="0" err="1" smtClean="0">
                <a:solidFill>
                  <a:srgbClr val="C00000"/>
                </a:solidFill>
                <a:latin typeface="Consolas" panose="020B0609020204030204" pitchFamily="49" charset="0"/>
                <a:cs typeface="Consolas" panose="020B0609020204030204" pitchFamily="49" charset="0"/>
              </a:rPr>
              <a:t>shipmentservice</a:t>
            </a:r>
            <a:r>
              <a:rPr lang="en-US" dirty="0" smtClean="0">
                <a:solidFill>
                  <a:srgbClr val="C00000"/>
                </a:solidFill>
                <a:latin typeface="Consolas" panose="020B0609020204030204" pitchFamily="49" charset="0"/>
                <a:cs typeface="Consolas" panose="020B0609020204030204" pitchFamily="49" charset="0"/>
              </a:rPr>
              <a:t>"</a:t>
            </a:r>
            <a:r>
              <a:rPr lang="en-US" dirty="0" smtClean="0">
                <a:solidFill>
                  <a:prstClr val="black"/>
                </a:solidFill>
                <a:latin typeface="Consolas" panose="020B0609020204030204" pitchFamily="49" charset="0"/>
                <a:cs typeface="Consolas" panose="020B0609020204030204" pitchFamily="49" charset="0"/>
              </a:rPr>
              <a:t>, </a:t>
            </a:r>
            <a:r>
              <a:rPr lang="en-US" dirty="0" err="1">
                <a:solidFill>
                  <a:prstClr val="black"/>
                </a:solidFill>
                <a:latin typeface="Consolas" panose="020B0609020204030204" pitchFamily="49" charset="0"/>
                <a:cs typeface="Consolas" panose="020B0609020204030204" pitchFamily="49" charset="0"/>
              </a:rPr>
              <a:t>clientID</a:t>
            </a:r>
            <a:r>
              <a:rPr lang="en-US" dirty="0">
                <a:solidFill>
                  <a:prstClr val="black"/>
                </a:solidFill>
                <a:latin typeface="Consolas" panose="020B0609020204030204" pitchFamily="49" charset="0"/>
                <a:cs typeface="Consolas" panose="020B0609020204030204" pitchFamily="49" charset="0"/>
              </a:rPr>
              <a:t>);</a:t>
            </a:r>
          </a:p>
        </p:txBody>
      </p:sp>
      <p:sp>
        <p:nvSpPr>
          <p:cNvPr id="11" name="TextBox 10"/>
          <p:cNvSpPr txBox="1"/>
          <p:nvPr/>
        </p:nvSpPr>
        <p:spPr>
          <a:xfrm>
            <a:off x="282705" y="1541381"/>
            <a:ext cx="4792530" cy="461665"/>
          </a:xfrm>
          <a:prstGeom prst="rect">
            <a:avLst/>
          </a:prstGeom>
          <a:noFill/>
        </p:spPr>
        <p:txBody>
          <a:bodyPr wrap="none" rtlCol="0">
            <a:spAutoFit/>
          </a:bodyPr>
          <a:lstStyle/>
          <a:p>
            <a:pPr defTabSz="914400"/>
            <a:r>
              <a:rPr lang="en-US" sz="2400" b="1" dirty="0" smtClean="0">
                <a:solidFill>
                  <a:prstClr val="black"/>
                </a:solidFill>
                <a:latin typeface="Calibri" panose="020F0502020204030204"/>
              </a:rPr>
              <a:t>Authenticate the user to get a token</a:t>
            </a:r>
            <a:endParaRPr lang="en-US" sz="2400" b="1" dirty="0">
              <a:solidFill>
                <a:prstClr val="black"/>
              </a:solidFill>
              <a:latin typeface="Calibri" panose="020F0502020204030204"/>
            </a:endParaRPr>
          </a:p>
        </p:txBody>
      </p:sp>
      <p:sp>
        <p:nvSpPr>
          <p:cNvPr id="12" name="Rectangle 11"/>
          <p:cNvSpPr/>
          <p:nvPr/>
        </p:nvSpPr>
        <p:spPr>
          <a:xfrm>
            <a:off x="274320" y="4580023"/>
            <a:ext cx="11598274" cy="1200329"/>
          </a:xfrm>
          <a:prstGeom prst="rect">
            <a:avLst/>
          </a:prstGeom>
        </p:spPr>
        <p:txBody>
          <a:bodyPr wrap="square">
            <a:spAutoFit/>
          </a:bodyPr>
          <a:lstStyle/>
          <a:p>
            <a:pPr defTabSz="914400"/>
            <a:r>
              <a:rPr lang="en-US" dirty="0" err="1">
                <a:solidFill>
                  <a:srgbClr val="33CCCC"/>
                </a:solidFill>
                <a:latin typeface="Consolas" panose="020B0609020204030204" pitchFamily="49" charset="0"/>
                <a:cs typeface="Consolas" panose="020B0609020204030204" pitchFamily="49" charset="0"/>
              </a:rPr>
              <a:t>HttpClient</a:t>
            </a:r>
            <a:r>
              <a:rPr lang="en-US" dirty="0">
                <a:solidFill>
                  <a:prstClr val="black"/>
                </a:solidFill>
                <a:latin typeface="Consolas" panose="020B0609020204030204" pitchFamily="49" charset="0"/>
                <a:cs typeface="Consolas" panose="020B0609020204030204" pitchFamily="49" charset="0"/>
              </a:rPr>
              <a:t> </a:t>
            </a:r>
            <a:r>
              <a:rPr lang="en-US" dirty="0" err="1">
                <a:solidFill>
                  <a:prstClr val="black"/>
                </a:solidFill>
                <a:latin typeface="Consolas" panose="020B0609020204030204" pitchFamily="49" charset="0"/>
                <a:cs typeface="Consolas" panose="020B0609020204030204" pitchFamily="49" charset="0"/>
              </a:rPr>
              <a:t>httpClient</a:t>
            </a:r>
            <a:r>
              <a:rPr lang="en-US" dirty="0">
                <a:solidFill>
                  <a:prstClr val="black"/>
                </a:solidFill>
                <a:latin typeface="Consolas" panose="020B0609020204030204" pitchFamily="49" charset="0"/>
                <a:cs typeface="Consolas" panose="020B0609020204030204" pitchFamily="49" charset="0"/>
              </a:rPr>
              <a:t> = new </a:t>
            </a:r>
            <a:r>
              <a:rPr lang="en-US" dirty="0" err="1">
                <a:solidFill>
                  <a:srgbClr val="33CCCC"/>
                </a:solidFill>
                <a:latin typeface="Consolas" panose="020B0609020204030204" pitchFamily="49" charset="0"/>
                <a:cs typeface="Consolas" panose="020B0609020204030204" pitchFamily="49" charset="0"/>
              </a:rPr>
              <a:t>HttpClient</a:t>
            </a:r>
            <a:r>
              <a:rPr lang="en-US" dirty="0" smtClean="0">
                <a:solidFill>
                  <a:prstClr val="black"/>
                </a:solidFill>
                <a:latin typeface="Consolas" panose="020B0609020204030204" pitchFamily="49" charset="0"/>
                <a:cs typeface="Consolas" panose="020B0609020204030204" pitchFamily="49" charset="0"/>
              </a:rPr>
              <a:t>();</a:t>
            </a:r>
          </a:p>
          <a:p>
            <a:pPr defTabSz="914400"/>
            <a:r>
              <a:rPr lang="en-US" dirty="0" err="1">
                <a:solidFill>
                  <a:prstClr val="black"/>
                </a:solidFill>
                <a:latin typeface="Consolas" panose="020B0609020204030204" pitchFamily="49" charset="0"/>
                <a:cs typeface="Consolas" panose="020B0609020204030204" pitchFamily="49" charset="0"/>
              </a:rPr>
              <a:t>httpClient.DefaultRequestHeaders.Authorization</a:t>
            </a:r>
            <a:r>
              <a:rPr lang="en-US" dirty="0">
                <a:solidFill>
                  <a:prstClr val="black"/>
                </a:solidFill>
                <a:latin typeface="Consolas" panose="020B0609020204030204" pitchFamily="49" charset="0"/>
                <a:cs typeface="Consolas" panose="020B0609020204030204" pitchFamily="49" charset="0"/>
              </a:rPr>
              <a:t> = </a:t>
            </a:r>
            <a:endParaRPr lang="en-US" dirty="0" smtClean="0">
              <a:solidFill>
                <a:prstClr val="black"/>
              </a:solidFill>
              <a:latin typeface="Consolas" panose="020B0609020204030204" pitchFamily="49" charset="0"/>
              <a:cs typeface="Consolas" panose="020B0609020204030204" pitchFamily="49" charset="0"/>
            </a:endParaRPr>
          </a:p>
          <a:p>
            <a:pPr defTabSz="914400"/>
            <a:r>
              <a:rPr lang="en-US" dirty="0">
                <a:solidFill>
                  <a:prstClr val="black"/>
                </a:solidFill>
                <a:latin typeface="Consolas" panose="020B0609020204030204" pitchFamily="49" charset="0"/>
                <a:cs typeface="Consolas" panose="020B0609020204030204" pitchFamily="49" charset="0"/>
              </a:rPr>
              <a:t> </a:t>
            </a:r>
            <a:r>
              <a:rPr lang="en-US" dirty="0" smtClean="0">
                <a:solidFill>
                  <a:prstClr val="black"/>
                </a:solidFill>
                <a:latin typeface="Consolas" panose="020B0609020204030204" pitchFamily="49" charset="0"/>
                <a:cs typeface="Consolas" panose="020B0609020204030204" pitchFamily="49" charset="0"/>
              </a:rPr>
              <a:t>   </a:t>
            </a:r>
            <a:r>
              <a:rPr lang="en-US" dirty="0">
                <a:solidFill>
                  <a:srgbClr val="0070C0"/>
                </a:solidFill>
                <a:latin typeface="Consolas" panose="020B0609020204030204" pitchFamily="49" charset="0"/>
                <a:cs typeface="Consolas" panose="020B0609020204030204" pitchFamily="49" charset="0"/>
              </a:rPr>
              <a:t>new</a:t>
            </a:r>
            <a:r>
              <a:rPr lang="en-US" dirty="0" smtClean="0">
                <a:solidFill>
                  <a:prstClr val="black"/>
                </a:solidFill>
                <a:latin typeface="Consolas" panose="020B0609020204030204" pitchFamily="49" charset="0"/>
                <a:cs typeface="Consolas" panose="020B0609020204030204" pitchFamily="49" charset="0"/>
              </a:rPr>
              <a:t> </a:t>
            </a:r>
            <a:r>
              <a:rPr lang="en-US" dirty="0" err="1">
                <a:solidFill>
                  <a:srgbClr val="33CCCC"/>
                </a:solidFill>
                <a:latin typeface="Consolas" panose="020B0609020204030204" pitchFamily="49" charset="0"/>
                <a:cs typeface="Consolas" panose="020B0609020204030204" pitchFamily="49" charset="0"/>
              </a:rPr>
              <a:t>AuthenticationHeaderValue</a:t>
            </a:r>
            <a:r>
              <a:rPr lang="en-US" dirty="0">
                <a:solidFill>
                  <a:prstClr val="black"/>
                </a:solidFill>
                <a:latin typeface="Consolas" panose="020B0609020204030204" pitchFamily="49" charset="0"/>
                <a:cs typeface="Consolas" panose="020B0609020204030204" pitchFamily="49" charset="0"/>
              </a:rPr>
              <a:t>(</a:t>
            </a:r>
            <a:r>
              <a:rPr lang="en-US" dirty="0">
                <a:solidFill>
                  <a:srgbClr val="C00000"/>
                </a:solidFill>
                <a:latin typeface="Consolas" panose="020B0609020204030204" pitchFamily="49" charset="0"/>
                <a:cs typeface="Consolas" panose="020B0609020204030204" pitchFamily="49" charset="0"/>
              </a:rPr>
              <a:t>"Bearer"</a:t>
            </a:r>
            <a:r>
              <a:rPr lang="en-US" dirty="0">
                <a:solidFill>
                  <a:prstClr val="black"/>
                </a:solidFill>
                <a:latin typeface="Consolas" panose="020B0609020204030204" pitchFamily="49" charset="0"/>
                <a:cs typeface="Consolas" panose="020B0609020204030204" pitchFamily="49" charset="0"/>
              </a:rPr>
              <a:t>, </a:t>
            </a:r>
            <a:r>
              <a:rPr lang="en-US" dirty="0" err="1">
                <a:solidFill>
                  <a:prstClr val="black"/>
                </a:solidFill>
                <a:latin typeface="Consolas" panose="020B0609020204030204" pitchFamily="49" charset="0"/>
                <a:cs typeface="Consolas" panose="020B0609020204030204" pitchFamily="49" charset="0"/>
              </a:rPr>
              <a:t>result.AccessToken</a:t>
            </a:r>
            <a:r>
              <a:rPr lang="en-US" dirty="0">
                <a:solidFill>
                  <a:prstClr val="black"/>
                </a:solidFill>
                <a:latin typeface="Consolas" panose="020B0609020204030204" pitchFamily="49" charset="0"/>
                <a:cs typeface="Consolas" panose="020B0609020204030204" pitchFamily="49" charset="0"/>
              </a:rPr>
              <a:t>);</a:t>
            </a:r>
            <a:endParaRPr lang="en-US" dirty="0" smtClean="0">
              <a:solidFill>
                <a:prstClr val="black"/>
              </a:solidFill>
              <a:latin typeface="Consolas" panose="020B0609020204030204" pitchFamily="49" charset="0"/>
              <a:cs typeface="Consolas" panose="020B0609020204030204" pitchFamily="49" charset="0"/>
            </a:endParaRPr>
          </a:p>
          <a:p>
            <a:pPr defTabSz="914400"/>
            <a:r>
              <a:rPr lang="en-US" dirty="0" smtClean="0">
                <a:solidFill>
                  <a:srgbClr val="00B050"/>
                </a:solidFill>
                <a:latin typeface="Consolas" panose="020B0609020204030204" pitchFamily="49" charset="0"/>
                <a:cs typeface="Consolas" panose="020B0609020204030204" pitchFamily="49" charset="0"/>
              </a:rPr>
              <a:t>//...</a:t>
            </a:r>
            <a:endParaRPr lang="en-US" dirty="0">
              <a:solidFill>
                <a:srgbClr val="00B050"/>
              </a:solidFill>
              <a:latin typeface="Consolas" panose="020B0609020204030204" pitchFamily="49" charset="0"/>
              <a:cs typeface="Consolas" panose="020B0609020204030204" pitchFamily="49" charset="0"/>
            </a:endParaRPr>
          </a:p>
        </p:txBody>
      </p:sp>
      <p:sp>
        <p:nvSpPr>
          <p:cNvPr id="13" name="TextBox 12"/>
          <p:cNvSpPr txBox="1"/>
          <p:nvPr/>
        </p:nvSpPr>
        <p:spPr>
          <a:xfrm>
            <a:off x="265935" y="4118358"/>
            <a:ext cx="5075685" cy="461665"/>
          </a:xfrm>
          <a:prstGeom prst="rect">
            <a:avLst/>
          </a:prstGeom>
          <a:noFill/>
        </p:spPr>
        <p:txBody>
          <a:bodyPr wrap="none" rtlCol="0">
            <a:spAutoFit/>
          </a:bodyPr>
          <a:lstStyle/>
          <a:p>
            <a:pPr defTabSz="914400"/>
            <a:r>
              <a:rPr lang="en-US" sz="2400" b="1" dirty="0" smtClean="0">
                <a:solidFill>
                  <a:prstClr val="black"/>
                </a:solidFill>
                <a:latin typeface="Calibri" panose="020F0502020204030204"/>
              </a:rPr>
              <a:t>Use the token to invoke a REST service</a:t>
            </a:r>
            <a:endParaRPr lang="en-US" sz="2400" b="1" dirty="0">
              <a:solidFill>
                <a:prstClr val="black"/>
              </a:solidFill>
              <a:latin typeface="Calibri" panose="020F0502020204030204"/>
            </a:endParaRPr>
          </a:p>
        </p:txBody>
      </p:sp>
    </p:spTree>
    <p:extLst>
      <p:ext uri="{BB962C8B-B14F-4D97-AF65-F5344CB8AC3E}">
        <p14:creationId xmlns:p14="http://schemas.microsoft.com/office/powerpoint/2010/main" val="31815444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318242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es on User Experience</a:t>
            </a:r>
            <a:endParaRPr lang="en-US" dirty="0"/>
          </a:p>
        </p:txBody>
      </p:sp>
      <p:sp>
        <p:nvSpPr>
          <p:cNvPr id="3" name="Text Placeholder 2"/>
          <p:cNvSpPr>
            <a:spLocks noGrp="1"/>
          </p:cNvSpPr>
          <p:nvPr>
            <p:ph type="body" sz="quarter" idx="10"/>
          </p:nvPr>
        </p:nvSpPr>
        <p:spPr/>
        <p:txBody>
          <a:bodyPr/>
          <a:lstStyle/>
          <a:p>
            <a:r>
              <a:rPr lang="en-US" dirty="0" smtClean="0"/>
              <a:t>AAL wraps the WebAuthenticationBroker API in WinRT</a:t>
            </a:r>
          </a:p>
          <a:p>
            <a:r>
              <a:rPr lang="en-US" dirty="0" smtClean="0"/>
              <a:t>New in Windows 8.1: built-in account selection experience</a:t>
            </a:r>
          </a:p>
          <a:p>
            <a:pPr lvl="1"/>
            <a:r>
              <a:rPr lang="en-US" sz="2400" dirty="0"/>
              <a:t>See </a:t>
            </a:r>
            <a:r>
              <a:rPr lang="en-US" sz="2400" dirty="0" err="1" smtClean="0"/>
              <a:t>Karanbir’s</a:t>
            </a:r>
            <a:r>
              <a:rPr lang="en-US" sz="2400" dirty="0" smtClean="0"/>
              <a:t> </a:t>
            </a:r>
            <a:r>
              <a:rPr lang="en-US" sz="2400" dirty="0"/>
              <a:t>session later </a:t>
            </a:r>
            <a:r>
              <a:rPr lang="en-US" sz="2400" dirty="0" smtClean="0"/>
              <a:t>today (3-113)</a:t>
            </a:r>
            <a:endParaRPr lang="en-US" sz="2400" dirty="0"/>
          </a:p>
        </p:txBody>
      </p:sp>
    </p:spTree>
    <p:extLst>
      <p:ext uri="{BB962C8B-B14F-4D97-AF65-F5344CB8AC3E}">
        <p14:creationId xmlns:p14="http://schemas.microsoft.com/office/powerpoint/2010/main" val="39495706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135211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5400" dirty="0" smtClean="0"/>
              <a:t>Securing Windows Store applications</a:t>
            </a:r>
            <a:br>
              <a:rPr lang="en-US" sz="5400" dirty="0" smtClean="0"/>
            </a:br>
            <a:r>
              <a:rPr lang="en-US" sz="5400" dirty="0" smtClean="0"/>
              <a:t>and REST services </a:t>
            </a:r>
            <a:br>
              <a:rPr lang="en-US" sz="5400" dirty="0" smtClean="0"/>
            </a:br>
            <a:r>
              <a:rPr lang="en-US" sz="5400" dirty="0" smtClean="0"/>
              <a:t>with Active Directory</a:t>
            </a:r>
            <a:endParaRPr lang="en-US" sz="5400" dirty="0"/>
          </a:p>
        </p:txBody>
      </p:sp>
      <p:sp>
        <p:nvSpPr>
          <p:cNvPr id="3" name="Subtitle 2"/>
          <p:cNvSpPr>
            <a:spLocks noGrp="1"/>
          </p:cNvSpPr>
          <p:nvPr>
            <p:ph type="subTitle" idx="1"/>
          </p:nvPr>
        </p:nvSpPr>
        <p:spPr/>
        <p:txBody>
          <a:bodyPr/>
          <a:lstStyle/>
          <a:p>
            <a:r>
              <a:rPr lang="en-US" dirty="0" smtClean="0"/>
              <a:t>Vittorio Bertocci - </a:t>
            </a:r>
            <a:r>
              <a:rPr lang="en-US" b="1" u="sng" dirty="0" smtClean="0"/>
              <a:t>@</a:t>
            </a:r>
            <a:r>
              <a:rPr lang="en-US" b="1" u="sng" dirty="0" err="1" smtClean="0"/>
              <a:t>vibronet</a:t>
            </a:r>
            <a:endParaRPr lang="en-US" b="1" u="sng" dirty="0"/>
          </a:p>
          <a:p>
            <a:r>
              <a:rPr lang="en-US" dirty="0" smtClean="0"/>
              <a:t>Principal Program Manager</a:t>
            </a:r>
            <a:endParaRPr lang="en-US" dirty="0"/>
          </a:p>
          <a:p>
            <a:r>
              <a:rPr lang="en-US" dirty="0" smtClean="0"/>
              <a:t>3-518</a:t>
            </a:r>
            <a:endParaRPr lang="en-US" dirty="0"/>
          </a:p>
        </p:txBody>
      </p:sp>
    </p:spTree>
    <p:extLst>
      <p:ext uri="{BB962C8B-B14F-4D97-AF65-F5344CB8AC3E}">
        <p14:creationId xmlns:p14="http://schemas.microsoft.com/office/powerpoint/2010/main" val="4046530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Placeholder 39"/>
          <p:cNvSpPr>
            <a:spLocks noGrp="1"/>
          </p:cNvSpPr>
          <p:nvPr>
            <p:ph type="body" sz="quarter" idx="10"/>
          </p:nvPr>
        </p:nvSpPr>
        <p:spPr/>
        <p:txBody>
          <a:bodyPr/>
          <a:lstStyle/>
          <a:p>
            <a:r>
              <a:rPr lang="en-US" dirty="0" smtClean="0"/>
              <a:t>AAL for Windows Store offers a persistent token cache </a:t>
            </a:r>
            <a:endParaRPr lang="en-US" dirty="0"/>
          </a:p>
        </p:txBody>
      </p:sp>
      <p:sp>
        <p:nvSpPr>
          <p:cNvPr id="2" name="Title 1"/>
          <p:cNvSpPr>
            <a:spLocks noGrp="1"/>
          </p:cNvSpPr>
          <p:nvPr>
            <p:ph type="title"/>
          </p:nvPr>
        </p:nvSpPr>
        <p:spPr/>
        <p:txBody>
          <a:bodyPr/>
          <a:lstStyle/>
          <a:p>
            <a:r>
              <a:rPr lang="en-US" dirty="0" smtClean="0"/>
              <a:t>AAL Cache</a:t>
            </a:r>
            <a:endParaRPr lang="en-US" dirty="0"/>
          </a:p>
        </p:txBody>
      </p:sp>
      <p:grpSp>
        <p:nvGrpSpPr>
          <p:cNvPr id="4" name="Group 3"/>
          <p:cNvGrpSpPr/>
          <p:nvPr/>
        </p:nvGrpSpPr>
        <p:grpSpPr>
          <a:xfrm>
            <a:off x="6013172" y="1981200"/>
            <a:ext cx="4472265" cy="3892731"/>
            <a:chOff x="1776549" y="1463040"/>
            <a:chExt cx="4472265" cy="3892731"/>
          </a:xfrm>
        </p:grpSpPr>
        <p:sp>
          <p:nvSpPr>
            <p:cNvPr id="5" name="Rectangle 4"/>
            <p:cNvSpPr/>
            <p:nvPr/>
          </p:nvSpPr>
          <p:spPr>
            <a:xfrm>
              <a:off x="4015066" y="1463040"/>
              <a:ext cx="2233748" cy="3892731"/>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742"/>
              <a:r>
                <a:rPr lang="en-US" dirty="0" smtClean="0">
                  <a:solidFill>
                    <a:srgbClr val="FFFFFF"/>
                  </a:solidFill>
                  <a:latin typeface="Segoe UI Light" panose="020B0502040204020203" pitchFamily="34" charset="0"/>
                  <a:cs typeface="Segoe UI Light" panose="020B0502040204020203" pitchFamily="34" charset="0"/>
                </a:rPr>
                <a:t>Value</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6" name="Rectangle 5"/>
            <p:cNvSpPr/>
            <p:nvPr/>
          </p:nvSpPr>
          <p:spPr>
            <a:xfrm>
              <a:off x="1776549" y="1463040"/>
              <a:ext cx="2233748" cy="3892731"/>
            </a:xfrm>
            <a:prstGeom prst="rect">
              <a:avLst/>
            </a:prstGeom>
            <a:solidFill>
              <a:schemeClr val="accent1">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742"/>
              <a:r>
                <a:rPr lang="en-US" dirty="0" smtClean="0">
                  <a:solidFill>
                    <a:srgbClr val="FFFFFF"/>
                  </a:solidFill>
                  <a:latin typeface="Segoe UI Light" panose="020B0502040204020203" pitchFamily="34" charset="0"/>
                  <a:cs typeface="Segoe UI Light" panose="020B0502040204020203" pitchFamily="34" charset="0"/>
                </a:rPr>
                <a:t>Key</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7" name="Rectangle 6"/>
            <p:cNvSpPr/>
            <p:nvPr/>
          </p:nvSpPr>
          <p:spPr>
            <a:xfrm>
              <a:off x="2179343" y="2253571"/>
              <a:ext cx="1423851" cy="607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latin typeface="Segoe UI Light" panose="020B0502040204020203" pitchFamily="34" charset="0"/>
                <a:cs typeface="Segoe UI Light" panose="020B0502040204020203" pitchFamily="34" charset="0"/>
              </a:endParaRPr>
            </a:p>
          </p:txBody>
        </p:sp>
        <p:sp>
          <p:nvSpPr>
            <p:cNvPr id="8" name="Rectangle 7"/>
            <p:cNvSpPr/>
            <p:nvPr/>
          </p:nvSpPr>
          <p:spPr>
            <a:xfrm>
              <a:off x="2179343" y="3007032"/>
              <a:ext cx="1423851" cy="607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latin typeface="Segoe UI Light" panose="020B0502040204020203" pitchFamily="34" charset="0"/>
                <a:cs typeface="Segoe UI Light" panose="020B0502040204020203" pitchFamily="34" charset="0"/>
              </a:endParaRPr>
            </a:p>
          </p:txBody>
        </p:sp>
        <p:sp>
          <p:nvSpPr>
            <p:cNvPr id="9" name="Rectangle 8"/>
            <p:cNvSpPr/>
            <p:nvPr/>
          </p:nvSpPr>
          <p:spPr>
            <a:xfrm>
              <a:off x="2179343" y="3760493"/>
              <a:ext cx="1423851" cy="607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latin typeface="Segoe UI Light" panose="020B0502040204020203" pitchFamily="34" charset="0"/>
                <a:cs typeface="Segoe UI Light" panose="020B0502040204020203" pitchFamily="34" charset="0"/>
              </a:endParaRPr>
            </a:p>
          </p:txBody>
        </p:sp>
        <p:sp>
          <p:nvSpPr>
            <p:cNvPr id="10" name="Rectangle 9"/>
            <p:cNvSpPr/>
            <p:nvPr/>
          </p:nvSpPr>
          <p:spPr>
            <a:xfrm>
              <a:off x="2179343" y="4513955"/>
              <a:ext cx="1423851" cy="607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latin typeface="Segoe UI Light" panose="020B0502040204020203" pitchFamily="34" charset="0"/>
                <a:cs typeface="Segoe UI Light" panose="020B0502040204020203" pitchFamily="34" charset="0"/>
              </a:endParaRPr>
            </a:p>
          </p:txBody>
        </p:sp>
        <p:sp>
          <p:nvSpPr>
            <p:cNvPr id="11" name="TextBox 10"/>
            <p:cNvSpPr txBox="1"/>
            <p:nvPr/>
          </p:nvSpPr>
          <p:spPr>
            <a:xfrm>
              <a:off x="2362787" y="2372623"/>
              <a:ext cx="1074333" cy="369332"/>
            </a:xfrm>
            <a:prstGeom prst="rect">
              <a:avLst/>
            </a:prstGeom>
            <a:noFill/>
            <a:ln>
              <a:noFill/>
            </a:ln>
          </p:spPr>
          <p:txBody>
            <a:bodyPr wrap="none" rtlCol="0">
              <a:spAutoFit/>
            </a:bodyPr>
            <a:lstStyle/>
            <a:p>
              <a:pPr defTabSz="932742"/>
              <a:r>
                <a:rPr lang="en-US" dirty="0" smtClean="0">
                  <a:solidFill>
                    <a:srgbClr val="FFFFFF"/>
                  </a:solidFill>
                  <a:latin typeface="Segoe UI Light" panose="020B0502040204020203" pitchFamily="34" charset="0"/>
                  <a:cs typeface="Segoe UI Light" panose="020B0502040204020203" pitchFamily="34" charset="0"/>
                </a:rPr>
                <a:t>Authority</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12" name="TextBox 11"/>
            <p:cNvSpPr txBox="1"/>
            <p:nvPr/>
          </p:nvSpPr>
          <p:spPr>
            <a:xfrm>
              <a:off x="2436781" y="3126084"/>
              <a:ext cx="941283" cy="369332"/>
            </a:xfrm>
            <a:prstGeom prst="rect">
              <a:avLst/>
            </a:prstGeom>
            <a:noFill/>
            <a:ln>
              <a:noFill/>
            </a:ln>
          </p:spPr>
          <p:txBody>
            <a:bodyPr wrap="none" rtlCol="0">
              <a:spAutoFit/>
            </a:bodyPr>
            <a:lstStyle/>
            <a:p>
              <a:pPr defTabSz="932742"/>
              <a:r>
                <a:rPr lang="en-US" dirty="0" err="1" smtClean="0">
                  <a:solidFill>
                    <a:srgbClr val="FFFFFF"/>
                  </a:solidFill>
                  <a:latin typeface="Segoe UI Light" panose="020B0502040204020203" pitchFamily="34" charset="0"/>
                  <a:cs typeface="Segoe UI Light" panose="020B0502040204020203" pitchFamily="34" charset="0"/>
                </a:rPr>
                <a:t>ClientID</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13" name="TextBox 12"/>
            <p:cNvSpPr txBox="1"/>
            <p:nvPr/>
          </p:nvSpPr>
          <p:spPr>
            <a:xfrm>
              <a:off x="2377727" y="3879545"/>
              <a:ext cx="1064907" cy="369332"/>
            </a:xfrm>
            <a:prstGeom prst="rect">
              <a:avLst/>
            </a:prstGeom>
            <a:noFill/>
            <a:ln>
              <a:noFill/>
            </a:ln>
          </p:spPr>
          <p:txBody>
            <a:bodyPr wrap="none" rtlCol="0">
              <a:spAutoFit/>
            </a:bodyPr>
            <a:lstStyle/>
            <a:p>
              <a:pPr defTabSz="932742"/>
              <a:r>
                <a:rPr lang="en-US" dirty="0" smtClean="0">
                  <a:solidFill>
                    <a:srgbClr val="FFFFFF"/>
                  </a:solidFill>
                  <a:latin typeface="Segoe UI Light" panose="020B0502040204020203" pitchFamily="34" charset="0"/>
                  <a:cs typeface="Segoe UI Light" panose="020B0502040204020203" pitchFamily="34" charset="0"/>
                </a:rPr>
                <a:t>Resource</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14" name="TextBox 13"/>
            <p:cNvSpPr txBox="1"/>
            <p:nvPr/>
          </p:nvSpPr>
          <p:spPr>
            <a:xfrm>
              <a:off x="2591215" y="4633007"/>
              <a:ext cx="617477" cy="369332"/>
            </a:xfrm>
            <a:prstGeom prst="rect">
              <a:avLst/>
            </a:prstGeom>
            <a:noFill/>
            <a:ln>
              <a:noFill/>
            </a:ln>
          </p:spPr>
          <p:txBody>
            <a:bodyPr wrap="none" rtlCol="0">
              <a:spAutoFit/>
            </a:bodyPr>
            <a:lstStyle/>
            <a:p>
              <a:pPr defTabSz="932742"/>
              <a:r>
                <a:rPr lang="en-US" dirty="0" smtClean="0">
                  <a:solidFill>
                    <a:srgbClr val="FFFFFF"/>
                  </a:solidFill>
                  <a:latin typeface="Segoe UI Light" panose="020B0502040204020203" pitchFamily="34" charset="0"/>
                  <a:cs typeface="Segoe UI Light" panose="020B0502040204020203" pitchFamily="34" charset="0"/>
                </a:rPr>
                <a:t>User</a:t>
              </a:r>
              <a:endParaRPr lang="en-US" dirty="0">
                <a:solidFill>
                  <a:srgbClr val="FFFFFF"/>
                </a:solidFill>
                <a:latin typeface="Segoe UI Light" panose="020B0502040204020203" pitchFamily="34" charset="0"/>
                <a:cs typeface="Segoe UI Light" panose="020B0502040204020203" pitchFamily="34" charset="0"/>
              </a:endParaRPr>
            </a:p>
          </p:txBody>
        </p:sp>
        <p:grpSp>
          <p:nvGrpSpPr>
            <p:cNvPr id="15" name="Group 14"/>
            <p:cNvGrpSpPr/>
            <p:nvPr/>
          </p:nvGrpSpPr>
          <p:grpSpPr>
            <a:xfrm>
              <a:off x="4674847" y="2253571"/>
              <a:ext cx="1001647" cy="953950"/>
              <a:chOff x="7952749" y="3566159"/>
              <a:chExt cx="1001647" cy="953950"/>
            </a:xfrm>
          </p:grpSpPr>
          <p:sp>
            <p:nvSpPr>
              <p:cNvPr id="20" name="Regular Pentagon 19"/>
              <p:cNvSpPr/>
              <p:nvPr/>
            </p:nvSpPr>
            <p:spPr>
              <a:xfrm>
                <a:off x="7952749" y="3566159"/>
                <a:ext cx="1001647" cy="953950"/>
              </a:xfrm>
              <a:prstGeom prst="pentagon">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latin typeface="Segoe UI Light" panose="020B0502040204020203" pitchFamily="34" charset="0"/>
                  <a:cs typeface="Segoe UI Light" panose="020B0502040204020203" pitchFamily="34" charset="0"/>
                </a:endParaRPr>
              </a:p>
            </p:txBody>
          </p:sp>
          <p:sp>
            <p:nvSpPr>
              <p:cNvPr id="21" name="TextBox 20"/>
              <p:cNvSpPr txBox="1"/>
              <p:nvPr/>
            </p:nvSpPr>
            <p:spPr>
              <a:xfrm>
                <a:off x="8037433" y="3798347"/>
                <a:ext cx="832280" cy="646331"/>
              </a:xfrm>
              <a:prstGeom prst="rect">
                <a:avLst/>
              </a:prstGeom>
              <a:noFill/>
              <a:ln>
                <a:noFill/>
              </a:ln>
            </p:spPr>
            <p:txBody>
              <a:bodyPr wrap="none" rtlCol="0">
                <a:spAutoFit/>
              </a:bodyPr>
              <a:lstStyle/>
              <a:p>
                <a:pPr algn="ctr" defTabSz="932742"/>
                <a:r>
                  <a:rPr lang="en-US" dirty="0" smtClean="0">
                    <a:solidFill>
                      <a:srgbClr val="FFFFFF"/>
                    </a:solidFill>
                    <a:latin typeface="Segoe UI Light" panose="020B0502040204020203" pitchFamily="34" charset="0"/>
                    <a:cs typeface="Segoe UI Light" panose="020B0502040204020203" pitchFamily="34" charset="0"/>
                  </a:rPr>
                  <a:t>Access</a:t>
                </a:r>
                <a:br>
                  <a:rPr lang="en-US" dirty="0" smtClean="0">
                    <a:solidFill>
                      <a:srgbClr val="FFFF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Token</a:t>
                </a:r>
                <a:endParaRPr lang="en-US" dirty="0">
                  <a:solidFill>
                    <a:srgbClr val="FFFFFF"/>
                  </a:solidFill>
                  <a:latin typeface="Segoe UI Light" panose="020B0502040204020203" pitchFamily="34" charset="0"/>
                  <a:cs typeface="Segoe UI Light" panose="020B0502040204020203" pitchFamily="34" charset="0"/>
                </a:endParaRPr>
              </a:p>
            </p:txBody>
          </p:sp>
        </p:grpSp>
        <p:grpSp>
          <p:nvGrpSpPr>
            <p:cNvPr id="16" name="Group 15"/>
            <p:cNvGrpSpPr/>
            <p:nvPr/>
          </p:nvGrpSpPr>
          <p:grpSpPr>
            <a:xfrm>
              <a:off x="4674847" y="4167442"/>
              <a:ext cx="1001647" cy="953950"/>
              <a:chOff x="7589278" y="5014431"/>
              <a:chExt cx="1001647" cy="953950"/>
            </a:xfrm>
          </p:grpSpPr>
          <p:sp>
            <p:nvSpPr>
              <p:cNvPr id="18" name="Regular Pentagon 17"/>
              <p:cNvSpPr/>
              <p:nvPr/>
            </p:nvSpPr>
            <p:spPr>
              <a:xfrm>
                <a:off x="7589278" y="5014431"/>
                <a:ext cx="1001647" cy="953950"/>
              </a:xfrm>
              <a:prstGeom prst="pentagon">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latin typeface="Segoe UI Light" panose="020B0502040204020203" pitchFamily="34" charset="0"/>
                  <a:cs typeface="Segoe UI Light" panose="020B0502040204020203" pitchFamily="34" charset="0"/>
                </a:endParaRPr>
              </a:p>
            </p:txBody>
          </p:sp>
          <p:sp>
            <p:nvSpPr>
              <p:cNvPr id="19" name="TextBox 18"/>
              <p:cNvSpPr txBox="1"/>
              <p:nvPr/>
            </p:nvSpPr>
            <p:spPr>
              <a:xfrm>
                <a:off x="7643248" y="5246619"/>
                <a:ext cx="893706" cy="646331"/>
              </a:xfrm>
              <a:prstGeom prst="rect">
                <a:avLst/>
              </a:prstGeom>
              <a:noFill/>
              <a:ln>
                <a:noFill/>
              </a:ln>
            </p:spPr>
            <p:txBody>
              <a:bodyPr wrap="none" rtlCol="0">
                <a:spAutoFit/>
              </a:bodyPr>
              <a:lstStyle/>
              <a:p>
                <a:pPr algn="ctr" defTabSz="932742"/>
                <a:r>
                  <a:rPr lang="en-US" dirty="0" smtClean="0">
                    <a:solidFill>
                      <a:srgbClr val="FFFFFF"/>
                    </a:solidFill>
                    <a:latin typeface="Segoe UI Light" panose="020B0502040204020203" pitchFamily="34" charset="0"/>
                    <a:cs typeface="Segoe UI Light" panose="020B0502040204020203" pitchFamily="34" charset="0"/>
                  </a:rPr>
                  <a:t>Refresh</a:t>
                </a:r>
                <a:br>
                  <a:rPr lang="en-US" dirty="0" smtClean="0">
                    <a:solidFill>
                      <a:srgbClr val="FFFF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Token</a:t>
                </a:r>
                <a:endParaRPr lang="en-US" dirty="0">
                  <a:solidFill>
                    <a:srgbClr val="FFFFFF"/>
                  </a:solidFill>
                  <a:latin typeface="Segoe UI Light" panose="020B0502040204020203" pitchFamily="34" charset="0"/>
                  <a:cs typeface="Segoe UI Light" panose="020B0502040204020203" pitchFamily="34" charset="0"/>
                </a:endParaRPr>
              </a:p>
            </p:txBody>
          </p:sp>
        </p:grpSp>
        <p:sp>
          <p:nvSpPr>
            <p:cNvPr id="17" name="TextBox 16"/>
            <p:cNvSpPr txBox="1"/>
            <p:nvPr/>
          </p:nvSpPr>
          <p:spPr>
            <a:xfrm>
              <a:off x="4611477" y="3531150"/>
              <a:ext cx="1128386" cy="369332"/>
            </a:xfrm>
            <a:prstGeom prst="rect">
              <a:avLst/>
            </a:prstGeom>
            <a:noFill/>
            <a:ln>
              <a:noFill/>
            </a:ln>
          </p:spPr>
          <p:txBody>
            <a:bodyPr wrap="none" rtlCol="0">
              <a:spAutoFit/>
            </a:bodyPr>
            <a:lstStyle/>
            <a:p>
              <a:pPr defTabSz="932742"/>
              <a:r>
                <a:rPr lang="en-US" dirty="0" smtClean="0">
                  <a:solidFill>
                    <a:srgbClr val="FFFFFF"/>
                  </a:solidFill>
                  <a:latin typeface="Segoe UI Light" panose="020B0502040204020203" pitchFamily="34" charset="0"/>
                  <a:cs typeface="Segoe UI Light" panose="020B0502040204020203" pitchFamily="34" charset="0"/>
                </a:rPr>
                <a:t>Expiration</a:t>
              </a:r>
              <a:endParaRPr lang="en-US" dirty="0">
                <a:solidFill>
                  <a:srgbClr val="FFFFFF"/>
                </a:solidFill>
                <a:latin typeface="Segoe UI Light" panose="020B0502040204020203" pitchFamily="34" charset="0"/>
                <a:cs typeface="Segoe UI Light" panose="020B0502040204020203" pitchFamily="34" charset="0"/>
              </a:endParaRPr>
            </a:p>
          </p:txBody>
        </p:sp>
      </p:grpSp>
      <p:grpSp>
        <p:nvGrpSpPr>
          <p:cNvPr id="22" name="Group 21"/>
          <p:cNvGrpSpPr/>
          <p:nvPr/>
        </p:nvGrpSpPr>
        <p:grpSpPr>
          <a:xfrm>
            <a:off x="5603684" y="2451339"/>
            <a:ext cx="4387444" cy="3892731"/>
            <a:chOff x="1776549" y="1463040"/>
            <a:chExt cx="4387444" cy="3892731"/>
          </a:xfrm>
          <a:effectLst>
            <a:outerShdw blurRad="50800" dist="38100" dir="18900000" algn="bl" rotWithShape="0">
              <a:prstClr val="black">
                <a:alpha val="40000"/>
              </a:prstClr>
            </a:outerShdw>
          </a:effectLst>
        </p:grpSpPr>
        <p:sp>
          <p:nvSpPr>
            <p:cNvPr id="23" name="Rectangle 22"/>
            <p:cNvSpPr/>
            <p:nvPr/>
          </p:nvSpPr>
          <p:spPr>
            <a:xfrm>
              <a:off x="3930245" y="1463040"/>
              <a:ext cx="2233748" cy="3892731"/>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742"/>
              <a:r>
                <a:rPr lang="en-US" b="1" dirty="0" smtClean="0">
                  <a:solidFill>
                    <a:srgbClr val="FFFFFF"/>
                  </a:solidFill>
                  <a:latin typeface="Segoe UI Light" panose="020B0502040204020203" pitchFamily="34" charset="0"/>
                  <a:cs typeface="Segoe UI Light" panose="020B0502040204020203" pitchFamily="34" charset="0"/>
                </a:rPr>
                <a:t>Value</a:t>
              </a:r>
              <a:endParaRPr lang="en-US" b="1" dirty="0">
                <a:solidFill>
                  <a:srgbClr val="FFFFFF"/>
                </a:solidFill>
                <a:latin typeface="Segoe UI Light" panose="020B0502040204020203" pitchFamily="34" charset="0"/>
                <a:cs typeface="Segoe UI Light" panose="020B0502040204020203" pitchFamily="34" charset="0"/>
              </a:endParaRPr>
            </a:p>
          </p:txBody>
        </p:sp>
        <p:sp>
          <p:nvSpPr>
            <p:cNvPr id="24" name="Rectangle 23"/>
            <p:cNvSpPr/>
            <p:nvPr/>
          </p:nvSpPr>
          <p:spPr>
            <a:xfrm>
              <a:off x="1776549" y="1463040"/>
              <a:ext cx="2233748" cy="3892731"/>
            </a:xfrm>
            <a:prstGeom prst="rect">
              <a:avLst/>
            </a:prstGeom>
            <a:solidFill>
              <a:schemeClr val="accent1">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32742"/>
              <a:r>
                <a:rPr lang="en-US" b="1" dirty="0" smtClean="0">
                  <a:solidFill>
                    <a:srgbClr val="FFFFFF"/>
                  </a:solidFill>
                  <a:latin typeface="Segoe UI Light" panose="020B0502040204020203" pitchFamily="34" charset="0"/>
                  <a:cs typeface="Segoe UI Light" panose="020B0502040204020203" pitchFamily="34" charset="0"/>
                </a:rPr>
                <a:t>Key</a:t>
              </a:r>
              <a:endParaRPr lang="en-US" b="1" dirty="0">
                <a:solidFill>
                  <a:srgbClr val="FFFFFF"/>
                </a:solidFill>
                <a:latin typeface="Segoe UI Light" panose="020B0502040204020203" pitchFamily="34" charset="0"/>
                <a:cs typeface="Segoe UI Light" panose="020B0502040204020203" pitchFamily="34" charset="0"/>
              </a:endParaRPr>
            </a:p>
          </p:txBody>
        </p:sp>
        <p:sp>
          <p:nvSpPr>
            <p:cNvPr id="25" name="Rectangle 24"/>
            <p:cNvSpPr/>
            <p:nvPr/>
          </p:nvSpPr>
          <p:spPr>
            <a:xfrm>
              <a:off x="2179343" y="2253571"/>
              <a:ext cx="1423851" cy="607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latin typeface="Segoe UI Light" panose="020B0502040204020203" pitchFamily="34" charset="0"/>
                <a:cs typeface="Segoe UI Light" panose="020B0502040204020203" pitchFamily="34" charset="0"/>
              </a:endParaRPr>
            </a:p>
          </p:txBody>
        </p:sp>
        <p:sp>
          <p:nvSpPr>
            <p:cNvPr id="26" name="Rectangle 25"/>
            <p:cNvSpPr/>
            <p:nvPr/>
          </p:nvSpPr>
          <p:spPr>
            <a:xfrm>
              <a:off x="2179343" y="3007032"/>
              <a:ext cx="1423851" cy="607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latin typeface="Segoe UI Light" panose="020B0502040204020203" pitchFamily="34" charset="0"/>
                <a:cs typeface="Segoe UI Light" panose="020B0502040204020203" pitchFamily="34" charset="0"/>
              </a:endParaRPr>
            </a:p>
          </p:txBody>
        </p:sp>
        <p:sp>
          <p:nvSpPr>
            <p:cNvPr id="27" name="Rectangle 26"/>
            <p:cNvSpPr/>
            <p:nvPr/>
          </p:nvSpPr>
          <p:spPr>
            <a:xfrm>
              <a:off x="2179343" y="3760493"/>
              <a:ext cx="1423851" cy="607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latin typeface="Segoe UI Light" panose="020B0502040204020203" pitchFamily="34" charset="0"/>
                <a:cs typeface="Segoe UI Light" panose="020B0502040204020203" pitchFamily="34" charset="0"/>
              </a:endParaRPr>
            </a:p>
          </p:txBody>
        </p:sp>
        <p:sp>
          <p:nvSpPr>
            <p:cNvPr id="28" name="Rectangle 27"/>
            <p:cNvSpPr/>
            <p:nvPr/>
          </p:nvSpPr>
          <p:spPr>
            <a:xfrm>
              <a:off x="2179343" y="4513955"/>
              <a:ext cx="1423851" cy="607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latin typeface="Segoe UI Light" panose="020B0502040204020203" pitchFamily="34" charset="0"/>
                <a:cs typeface="Segoe UI Light" panose="020B0502040204020203" pitchFamily="34" charset="0"/>
              </a:endParaRPr>
            </a:p>
          </p:txBody>
        </p:sp>
        <p:sp>
          <p:nvSpPr>
            <p:cNvPr id="29" name="TextBox 28"/>
            <p:cNvSpPr txBox="1"/>
            <p:nvPr/>
          </p:nvSpPr>
          <p:spPr>
            <a:xfrm>
              <a:off x="2362787" y="2372623"/>
              <a:ext cx="1074333" cy="369332"/>
            </a:xfrm>
            <a:prstGeom prst="rect">
              <a:avLst/>
            </a:prstGeom>
            <a:noFill/>
            <a:ln>
              <a:noFill/>
            </a:ln>
          </p:spPr>
          <p:txBody>
            <a:bodyPr wrap="none" rtlCol="0">
              <a:spAutoFit/>
            </a:bodyPr>
            <a:lstStyle/>
            <a:p>
              <a:pPr defTabSz="932742"/>
              <a:r>
                <a:rPr lang="en-US" dirty="0" smtClean="0">
                  <a:solidFill>
                    <a:srgbClr val="FFFFFF"/>
                  </a:solidFill>
                  <a:latin typeface="Segoe UI Light" panose="020B0502040204020203" pitchFamily="34" charset="0"/>
                  <a:cs typeface="Segoe UI Light" panose="020B0502040204020203" pitchFamily="34" charset="0"/>
                </a:rPr>
                <a:t>Authority</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2436781" y="3126084"/>
              <a:ext cx="941283" cy="369332"/>
            </a:xfrm>
            <a:prstGeom prst="rect">
              <a:avLst/>
            </a:prstGeom>
            <a:noFill/>
            <a:ln>
              <a:noFill/>
            </a:ln>
          </p:spPr>
          <p:txBody>
            <a:bodyPr wrap="none" rtlCol="0">
              <a:spAutoFit/>
            </a:bodyPr>
            <a:lstStyle/>
            <a:p>
              <a:pPr defTabSz="932742"/>
              <a:r>
                <a:rPr lang="en-US" dirty="0" err="1" smtClean="0">
                  <a:solidFill>
                    <a:srgbClr val="FFFFFF"/>
                  </a:solidFill>
                  <a:latin typeface="Segoe UI Light" panose="020B0502040204020203" pitchFamily="34" charset="0"/>
                  <a:cs typeface="Segoe UI Light" panose="020B0502040204020203" pitchFamily="34" charset="0"/>
                </a:rPr>
                <a:t>ClientID</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31" name="TextBox 30"/>
            <p:cNvSpPr txBox="1"/>
            <p:nvPr/>
          </p:nvSpPr>
          <p:spPr>
            <a:xfrm>
              <a:off x="2377727" y="3879545"/>
              <a:ext cx="1064907" cy="369332"/>
            </a:xfrm>
            <a:prstGeom prst="rect">
              <a:avLst/>
            </a:prstGeom>
            <a:noFill/>
            <a:ln>
              <a:noFill/>
            </a:ln>
          </p:spPr>
          <p:txBody>
            <a:bodyPr wrap="none" rtlCol="0">
              <a:spAutoFit/>
            </a:bodyPr>
            <a:lstStyle/>
            <a:p>
              <a:pPr defTabSz="932742"/>
              <a:r>
                <a:rPr lang="en-US" dirty="0" smtClean="0">
                  <a:solidFill>
                    <a:srgbClr val="FFFFFF"/>
                  </a:solidFill>
                  <a:latin typeface="Segoe UI Light" panose="020B0502040204020203" pitchFamily="34" charset="0"/>
                  <a:cs typeface="Segoe UI Light" panose="020B0502040204020203" pitchFamily="34" charset="0"/>
                </a:rPr>
                <a:t>Resource</a:t>
              </a:r>
              <a:endParaRPr lang="en-US" dirty="0">
                <a:solidFill>
                  <a:srgbClr val="FFFFFF"/>
                </a:solidFill>
                <a:latin typeface="Segoe UI Light" panose="020B0502040204020203" pitchFamily="34" charset="0"/>
                <a:cs typeface="Segoe UI Light" panose="020B0502040204020203" pitchFamily="34" charset="0"/>
              </a:endParaRPr>
            </a:p>
          </p:txBody>
        </p:sp>
        <p:sp>
          <p:nvSpPr>
            <p:cNvPr id="32" name="TextBox 31"/>
            <p:cNvSpPr txBox="1"/>
            <p:nvPr/>
          </p:nvSpPr>
          <p:spPr>
            <a:xfrm>
              <a:off x="2591215" y="4633007"/>
              <a:ext cx="617477" cy="369332"/>
            </a:xfrm>
            <a:prstGeom prst="rect">
              <a:avLst/>
            </a:prstGeom>
            <a:noFill/>
            <a:ln>
              <a:noFill/>
            </a:ln>
          </p:spPr>
          <p:txBody>
            <a:bodyPr wrap="none" rtlCol="0">
              <a:spAutoFit/>
            </a:bodyPr>
            <a:lstStyle/>
            <a:p>
              <a:pPr defTabSz="932742"/>
              <a:r>
                <a:rPr lang="en-US" dirty="0" smtClean="0">
                  <a:solidFill>
                    <a:srgbClr val="FFFFFF"/>
                  </a:solidFill>
                  <a:latin typeface="Segoe UI Light" panose="020B0502040204020203" pitchFamily="34" charset="0"/>
                  <a:cs typeface="Segoe UI Light" panose="020B0502040204020203" pitchFamily="34" charset="0"/>
                </a:rPr>
                <a:t>User</a:t>
              </a:r>
              <a:endParaRPr lang="en-US" dirty="0">
                <a:solidFill>
                  <a:srgbClr val="FFFFFF"/>
                </a:solidFill>
                <a:latin typeface="Segoe UI Light" panose="020B0502040204020203" pitchFamily="34" charset="0"/>
                <a:cs typeface="Segoe UI Light" panose="020B0502040204020203" pitchFamily="34" charset="0"/>
              </a:endParaRPr>
            </a:p>
          </p:txBody>
        </p:sp>
        <p:grpSp>
          <p:nvGrpSpPr>
            <p:cNvPr id="33" name="Group 32"/>
            <p:cNvGrpSpPr/>
            <p:nvPr/>
          </p:nvGrpSpPr>
          <p:grpSpPr>
            <a:xfrm>
              <a:off x="4674847" y="2253571"/>
              <a:ext cx="1001647" cy="953950"/>
              <a:chOff x="7952749" y="3566159"/>
              <a:chExt cx="1001647" cy="953950"/>
            </a:xfrm>
          </p:grpSpPr>
          <p:sp>
            <p:nvSpPr>
              <p:cNvPr id="38" name="Regular Pentagon 37"/>
              <p:cNvSpPr/>
              <p:nvPr/>
            </p:nvSpPr>
            <p:spPr>
              <a:xfrm>
                <a:off x="7952749" y="3566159"/>
                <a:ext cx="1001647" cy="953950"/>
              </a:xfrm>
              <a:prstGeom prst="pent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latin typeface="Segoe UI Light" panose="020B0502040204020203" pitchFamily="34" charset="0"/>
                  <a:cs typeface="Segoe UI Light" panose="020B0502040204020203" pitchFamily="34" charset="0"/>
                </a:endParaRPr>
              </a:p>
            </p:txBody>
          </p:sp>
          <p:sp>
            <p:nvSpPr>
              <p:cNvPr id="39" name="TextBox 38"/>
              <p:cNvSpPr txBox="1"/>
              <p:nvPr/>
            </p:nvSpPr>
            <p:spPr>
              <a:xfrm>
                <a:off x="8037433" y="3798347"/>
                <a:ext cx="832280" cy="646331"/>
              </a:xfrm>
              <a:prstGeom prst="rect">
                <a:avLst/>
              </a:prstGeom>
              <a:noFill/>
              <a:ln>
                <a:noFill/>
              </a:ln>
            </p:spPr>
            <p:txBody>
              <a:bodyPr wrap="none" rtlCol="0">
                <a:spAutoFit/>
              </a:bodyPr>
              <a:lstStyle/>
              <a:p>
                <a:pPr algn="ctr" defTabSz="932742"/>
                <a:r>
                  <a:rPr lang="en-US" dirty="0" smtClean="0">
                    <a:solidFill>
                      <a:srgbClr val="FFFFFF"/>
                    </a:solidFill>
                    <a:latin typeface="Segoe UI Light" panose="020B0502040204020203" pitchFamily="34" charset="0"/>
                    <a:cs typeface="Segoe UI Light" panose="020B0502040204020203" pitchFamily="34" charset="0"/>
                  </a:rPr>
                  <a:t>Access</a:t>
                </a:r>
                <a:br>
                  <a:rPr lang="en-US" dirty="0" smtClean="0">
                    <a:solidFill>
                      <a:srgbClr val="FFFF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Token</a:t>
                </a:r>
                <a:endParaRPr lang="en-US" dirty="0">
                  <a:solidFill>
                    <a:srgbClr val="FFFFFF"/>
                  </a:solidFill>
                  <a:latin typeface="Segoe UI Light" panose="020B0502040204020203" pitchFamily="34" charset="0"/>
                  <a:cs typeface="Segoe UI Light" panose="020B0502040204020203" pitchFamily="34" charset="0"/>
                </a:endParaRPr>
              </a:p>
            </p:txBody>
          </p:sp>
        </p:grpSp>
        <p:grpSp>
          <p:nvGrpSpPr>
            <p:cNvPr id="34" name="Group 33"/>
            <p:cNvGrpSpPr/>
            <p:nvPr/>
          </p:nvGrpSpPr>
          <p:grpSpPr>
            <a:xfrm>
              <a:off x="4674847" y="4167442"/>
              <a:ext cx="1001647" cy="953950"/>
              <a:chOff x="7589278" y="5014431"/>
              <a:chExt cx="1001647" cy="953950"/>
            </a:xfrm>
          </p:grpSpPr>
          <p:sp>
            <p:nvSpPr>
              <p:cNvPr id="36" name="Regular Pentagon 35"/>
              <p:cNvSpPr/>
              <p:nvPr/>
            </p:nvSpPr>
            <p:spPr>
              <a:xfrm>
                <a:off x="7589278" y="5014431"/>
                <a:ext cx="1001647" cy="953950"/>
              </a:xfrm>
              <a:prstGeom prst="pent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latin typeface="Segoe UI Light" panose="020B0502040204020203" pitchFamily="34" charset="0"/>
                  <a:cs typeface="Segoe UI Light" panose="020B0502040204020203" pitchFamily="34" charset="0"/>
                </a:endParaRPr>
              </a:p>
            </p:txBody>
          </p:sp>
          <p:sp>
            <p:nvSpPr>
              <p:cNvPr id="37" name="TextBox 36"/>
              <p:cNvSpPr txBox="1"/>
              <p:nvPr/>
            </p:nvSpPr>
            <p:spPr>
              <a:xfrm>
                <a:off x="7643248" y="5246619"/>
                <a:ext cx="893706" cy="646331"/>
              </a:xfrm>
              <a:prstGeom prst="rect">
                <a:avLst/>
              </a:prstGeom>
              <a:noFill/>
              <a:ln>
                <a:noFill/>
              </a:ln>
            </p:spPr>
            <p:txBody>
              <a:bodyPr wrap="none" rtlCol="0">
                <a:spAutoFit/>
              </a:bodyPr>
              <a:lstStyle/>
              <a:p>
                <a:pPr algn="ctr" defTabSz="932742"/>
                <a:r>
                  <a:rPr lang="en-US" dirty="0" smtClean="0">
                    <a:solidFill>
                      <a:srgbClr val="FFFFFF"/>
                    </a:solidFill>
                    <a:latin typeface="Segoe UI Light" panose="020B0502040204020203" pitchFamily="34" charset="0"/>
                    <a:cs typeface="Segoe UI Light" panose="020B0502040204020203" pitchFamily="34" charset="0"/>
                  </a:rPr>
                  <a:t>Refresh</a:t>
                </a:r>
                <a:br>
                  <a:rPr lang="en-US" dirty="0" smtClean="0">
                    <a:solidFill>
                      <a:srgbClr val="FFFF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Token</a:t>
                </a:r>
                <a:endParaRPr lang="en-US" dirty="0">
                  <a:solidFill>
                    <a:srgbClr val="FFFFFF"/>
                  </a:solidFill>
                  <a:latin typeface="Segoe UI Light" panose="020B0502040204020203" pitchFamily="34" charset="0"/>
                  <a:cs typeface="Segoe UI Light" panose="020B0502040204020203" pitchFamily="34" charset="0"/>
                </a:endParaRPr>
              </a:p>
            </p:txBody>
          </p:sp>
        </p:grpSp>
        <p:sp>
          <p:nvSpPr>
            <p:cNvPr id="35" name="TextBox 34"/>
            <p:cNvSpPr txBox="1"/>
            <p:nvPr/>
          </p:nvSpPr>
          <p:spPr>
            <a:xfrm>
              <a:off x="4611477" y="3531150"/>
              <a:ext cx="1128386" cy="369332"/>
            </a:xfrm>
            <a:prstGeom prst="rect">
              <a:avLst/>
            </a:prstGeom>
            <a:noFill/>
            <a:ln>
              <a:noFill/>
            </a:ln>
          </p:spPr>
          <p:txBody>
            <a:bodyPr wrap="none" rtlCol="0">
              <a:spAutoFit/>
            </a:bodyPr>
            <a:lstStyle/>
            <a:p>
              <a:pPr defTabSz="932742"/>
              <a:r>
                <a:rPr lang="en-US" dirty="0" smtClean="0">
                  <a:solidFill>
                    <a:srgbClr val="FFFFFF"/>
                  </a:solidFill>
                  <a:latin typeface="Segoe UI Light" panose="020B0502040204020203" pitchFamily="34" charset="0"/>
                  <a:cs typeface="Segoe UI Light" panose="020B0502040204020203" pitchFamily="34" charset="0"/>
                </a:rPr>
                <a:t>Expiration</a:t>
              </a:r>
              <a:endParaRPr lang="en-US" dirty="0">
                <a:solidFill>
                  <a:srgbClr val="FFFFFF"/>
                </a:soli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29735096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AL Cache</a:t>
            </a:r>
            <a:endParaRPr lang="en-US" dirty="0"/>
          </a:p>
        </p:txBody>
      </p:sp>
      <p:sp>
        <p:nvSpPr>
          <p:cNvPr id="68" name="Flowchart: Data 67"/>
          <p:cNvSpPr/>
          <p:nvPr/>
        </p:nvSpPr>
        <p:spPr>
          <a:xfrm>
            <a:off x="274321" y="1370319"/>
            <a:ext cx="2841673" cy="773723"/>
          </a:xfrm>
          <a:prstGeom prst="flowChartInputOutp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smtClean="0">
                <a:solidFill>
                  <a:srgbClr val="FFFFFF"/>
                </a:solidFill>
              </a:rPr>
              <a:t>[authority],</a:t>
            </a:r>
          </a:p>
          <a:p>
            <a:pPr algn="ctr" defTabSz="932742"/>
            <a:r>
              <a:rPr lang="en-US" dirty="0" smtClean="0">
                <a:solidFill>
                  <a:srgbClr val="FFFFFF"/>
                </a:solidFill>
              </a:rPr>
              <a:t>resource, </a:t>
            </a:r>
            <a:r>
              <a:rPr lang="en-US" dirty="0" err="1" smtClean="0">
                <a:solidFill>
                  <a:srgbClr val="FFFFFF"/>
                </a:solidFill>
              </a:rPr>
              <a:t>clientid</a:t>
            </a:r>
            <a:r>
              <a:rPr lang="en-US" dirty="0" smtClean="0">
                <a:solidFill>
                  <a:srgbClr val="FFFFFF"/>
                </a:solidFill>
              </a:rPr>
              <a:t>, user</a:t>
            </a:r>
            <a:endParaRPr lang="en-US" dirty="0">
              <a:solidFill>
                <a:srgbClr val="FFFFFF"/>
              </a:solidFill>
            </a:endParaRPr>
          </a:p>
        </p:txBody>
      </p:sp>
      <p:sp>
        <p:nvSpPr>
          <p:cNvPr id="69" name="Flowchart: Decision 68"/>
          <p:cNvSpPr/>
          <p:nvPr/>
        </p:nvSpPr>
        <p:spPr>
          <a:xfrm>
            <a:off x="274320" y="2744958"/>
            <a:ext cx="2841674" cy="1041009"/>
          </a:xfrm>
          <a:prstGeom prst="flowChartDecisi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a:solidFill>
                  <a:srgbClr val="FFFFFF"/>
                </a:solidFill>
              </a:rPr>
              <a:t>m</a:t>
            </a:r>
            <a:r>
              <a:rPr lang="en-US" dirty="0" smtClean="0">
                <a:solidFill>
                  <a:srgbClr val="FFFFFF"/>
                </a:solidFill>
              </a:rPr>
              <a:t>atching cache entry?</a:t>
            </a:r>
            <a:endParaRPr lang="en-US" dirty="0">
              <a:solidFill>
                <a:srgbClr val="FFFFFF"/>
              </a:solidFill>
            </a:endParaRPr>
          </a:p>
        </p:txBody>
      </p:sp>
      <p:sp>
        <p:nvSpPr>
          <p:cNvPr id="70" name="Flowchart: Decision 69"/>
          <p:cNvSpPr/>
          <p:nvPr/>
        </p:nvSpPr>
        <p:spPr>
          <a:xfrm>
            <a:off x="274320" y="4514879"/>
            <a:ext cx="2841674" cy="1041009"/>
          </a:xfrm>
          <a:prstGeom prst="flowChartDecisi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smtClean="0">
                <a:solidFill>
                  <a:srgbClr val="FFFFFF"/>
                </a:solidFill>
              </a:rPr>
              <a:t>valid access token?</a:t>
            </a:r>
            <a:endParaRPr lang="en-US" dirty="0">
              <a:solidFill>
                <a:srgbClr val="FFFFFF"/>
              </a:solidFill>
            </a:endParaRPr>
          </a:p>
        </p:txBody>
      </p:sp>
      <p:sp>
        <p:nvSpPr>
          <p:cNvPr id="71" name="Flowchart: Decision 70"/>
          <p:cNvSpPr/>
          <p:nvPr/>
        </p:nvSpPr>
        <p:spPr>
          <a:xfrm>
            <a:off x="4094556" y="380676"/>
            <a:ext cx="2841674" cy="1041009"/>
          </a:xfrm>
          <a:prstGeom prst="flowChartDecisi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a:solidFill>
                  <a:srgbClr val="FFFFFF"/>
                </a:solidFill>
              </a:rPr>
              <a:t>r</a:t>
            </a:r>
            <a:r>
              <a:rPr lang="en-US" dirty="0" smtClean="0">
                <a:solidFill>
                  <a:srgbClr val="FFFFFF"/>
                </a:solidFill>
              </a:rPr>
              <a:t>efresh token?</a:t>
            </a:r>
            <a:endParaRPr lang="en-US" dirty="0">
              <a:solidFill>
                <a:srgbClr val="FFFFFF"/>
              </a:solidFill>
            </a:endParaRPr>
          </a:p>
        </p:txBody>
      </p:sp>
      <p:sp>
        <p:nvSpPr>
          <p:cNvPr id="72" name="Flowchart: Decision 71"/>
          <p:cNvSpPr/>
          <p:nvPr/>
        </p:nvSpPr>
        <p:spPr>
          <a:xfrm>
            <a:off x="7892923" y="2808956"/>
            <a:ext cx="2841674" cy="1041009"/>
          </a:xfrm>
          <a:prstGeom prst="flowChartDecisi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smtClean="0">
                <a:solidFill>
                  <a:srgbClr val="FFFFFF"/>
                </a:solidFill>
              </a:rPr>
              <a:t>success?</a:t>
            </a:r>
            <a:endParaRPr lang="en-US" dirty="0">
              <a:solidFill>
                <a:srgbClr val="FFFFFF"/>
              </a:solidFill>
            </a:endParaRPr>
          </a:p>
        </p:txBody>
      </p:sp>
      <p:sp>
        <p:nvSpPr>
          <p:cNvPr id="73" name="Flowchart: Decision 72"/>
          <p:cNvSpPr/>
          <p:nvPr/>
        </p:nvSpPr>
        <p:spPr>
          <a:xfrm>
            <a:off x="4094556" y="3159476"/>
            <a:ext cx="2841674" cy="1041009"/>
          </a:xfrm>
          <a:prstGeom prst="flowChartDecisi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smtClean="0">
                <a:solidFill>
                  <a:srgbClr val="FFFFFF"/>
                </a:solidFill>
              </a:rPr>
              <a:t>success?</a:t>
            </a:r>
            <a:endParaRPr lang="en-US" dirty="0">
              <a:solidFill>
                <a:srgbClr val="FFFFFF"/>
              </a:solidFill>
            </a:endParaRPr>
          </a:p>
        </p:txBody>
      </p:sp>
      <p:sp>
        <p:nvSpPr>
          <p:cNvPr id="74" name="Flowchart: Data 73"/>
          <p:cNvSpPr/>
          <p:nvPr/>
        </p:nvSpPr>
        <p:spPr>
          <a:xfrm>
            <a:off x="3807173" y="6220802"/>
            <a:ext cx="2841673" cy="773723"/>
          </a:xfrm>
          <a:prstGeom prst="flowChartInputOutp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smtClean="0">
                <a:solidFill>
                  <a:srgbClr val="FFFFFF"/>
                </a:solidFill>
              </a:rPr>
              <a:t>return cache entry</a:t>
            </a:r>
            <a:endParaRPr lang="en-US" dirty="0">
              <a:solidFill>
                <a:srgbClr val="FFFFFF"/>
              </a:solidFill>
            </a:endParaRPr>
          </a:p>
        </p:txBody>
      </p:sp>
      <p:sp>
        <p:nvSpPr>
          <p:cNvPr id="75" name="Flowchart: Process 74"/>
          <p:cNvSpPr/>
          <p:nvPr/>
        </p:nvSpPr>
        <p:spPr>
          <a:xfrm>
            <a:off x="4094556" y="2010399"/>
            <a:ext cx="2841674" cy="773723"/>
          </a:xfrm>
          <a:prstGeom prst="flowChart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smtClean="0">
                <a:solidFill>
                  <a:srgbClr val="FFFFFF"/>
                </a:solidFill>
              </a:rPr>
              <a:t>use the refresh token to refresh the access token</a:t>
            </a:r>
            <a:endParaRPr lang="en-US" dirty="0">
              <a:solidFill>
                <a:srgbClr val="FFFFFF"/>
              </a:solidFill>
            </a:endParaRPr>
          </a:p>
        </p:txBody>
      </p:sp>
      <p:sp>
        <p:nvSpPr>
          <p:cNvPr id="76" name="Flowchart: Manual Input 75"/>
          <p:cNvSpPr/>
          <p:nvPr/>
        </p:nvSpPr>
        <p:spPr>
          <a:xfrm>
            <a:off x="7998431" y="1054275"/>
            <a:ext cx="2630658" cy="1010529"/>
          </a:xfrm>
          <a:prstGeom prst="flowChartManualInp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a:solidFill>
                  <a:srgbClr val="FFFFFF"/>
                </a:solidFill>
              </a:rPr>
              <a:t>p</a:t>
            </a:r>
            <a:r>
              <a:rPr lang="en-US" dirty="0" smtClean="0">
                <a:solidFill>
                  <a:srgbClr val="FFFFFF"/>
                </a:solidFill>
              </a:rPr>
              <a:t>rompt the user via </a:t>
            </a:r>
            <a:r>
              <a:rPr lang="en-US" sz="1600" dirty="0" smtClean="0">
                <a:solidFill>
                  <a:srgbClr val="FFFFFF"/>
                </a:solidFill>
              </a:rPr>
              <a:t>WebAuthenticationBroker</a:t>
            </a:r>
            <a:endParaRPr lang="en-US" sz="1600" dirty="0">
              <a:solidFill>
                <a:srgbClr val="FFFFFF"/>
              </a:solidFill>
            </a:endParaRPr>
          </a:p>
        </p:txBody>
      </p:sp>
      <p:sp>
        <p:nvSpPr>
          <p:cNvPr id="77" name="Flowchart: Stored Data 76"/>
          <p:cNvSpPr/>
          <p:nvPr/>
        </p:nvSpPr>
        <p:spPr>
          <a:xfrm>
            <a:off x="7967949" y="4514879"/>
            <a:ext cx="2661140" cy="1041009"/>
          </a:xfrm>
          <a:prstGeom prst="flowChartOnlineStorag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a:solidFill>
                  <a:srgbClr val="FFFFFF"/>
                </a:solidFill>
              </a:rPr>
              <a:t>c</a:t>
            </a:r>
            <a:r>
              <a:rPr lang="en-US" dirty="0" smtClean="0">
                <a:solidFill>
                  <a:srgbClr val="FFFFFF"/>
                </a:solidFill>
              </a:rPr>
              <a:t>ache access token, refresh token, validity</a:t>
            </a:r>
            <a:endParaRPr lang="en-US" dirty="0">
              <a:solidFill>
                <a:srgbClr val="FFFFFF"/>
              </a:solidFill>
            </a:endParaRPr>
          </a:p>
        </p:txBody>
      </p:sp>
      <p:sp>
        <p:nvSpPr>
          <p:cNvPr id="78" name="Flowchart: Stored Data 77"/>
          <p:cNvSpPr/>
          <p:nvPr/>
        </p:nvSpPr>
        <p:spPr>
          <a:xfrm>
            <a:off x="4184823" y="4667279"/>
            <a:ext cx="2661140" cy="1041009"/>
          </a:xfrm>
          <a:prstGeom prst="flowChartOnlineStorag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smtClean="0">
                <a:solidFill>
                  <a:srgbClr val="FFFFFF"/>
                </a:solidFill>
              </a:rPr>
              <a:t>replace cache entry</a:t>
            </a:r>
            <a:endParaRPr lang="en-US" dirty="0">
              <a:solidFill>
                <a:srgbClr val="FFFFFF"/>
              </a:solidFill>
            </a:endParaRPr>
          </a:p>
        </p:txBody>
      </p:sp>
      <p:cxnSp>
        <p:nvCxnSpPr>
          <p:cNvPr id="79" name="Straight Arrow Connector 78"/>
          <p:cNvCxnSpPr/>
          <p:nvPr/>
        </p:nvCxnSpPr>
        <p:spPr>
          <a:xfrm flipH="1">
            <a:off x="1695157" y="2144042"/>
            <a:ext cx="1" cy="6649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69" idx="2"/>
          </p:cNvCxnSpPr>
          <p:nvPr/>
        </p:nvCxnSpPr>
        <p:spPr>
          <a:xfrm>
            <a:off x="1695157" y="3785967"/>
            <a:ext cx="0" cy="72891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70" idx="2"/>
            <a:endCxn id="74" idx="0"/>
          </p:cNvCxnSpPr>
          <p:nvPr/>
        </p:nvCxnSpPr>
        <p:spPr>
          <a:xfrm rot="16200000" flipH="1">
            <a:off x="3271210" y="3979835"/>
            <a:ext cx="664914" cy="3817020"/>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1"/>
          <p:cNvCxnSpPr>
            <a:endCxn id="76" idx="1"/>
          </p:cNvCxnSpPr>
          <p:nvPr/>
        </p:nvCxnSpPr>
        <p:spPr>
          <a:xfrm flipV="1">
            <a:off x="3173185" y="1559540"/>
            <a:ext cx="4825246" cy="1706372"/>
          </a:xfrm>
          <a:prstGeom prst="bentConnector3">
            <a:avLst>
              <a:gd name="adj1" fmla="val 14942"/>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3" name="Elbow Connector 82"/>
          <p:cNvCxnSpPr>
            <a:stCxn id="70" idx="3"/>
            <a:endCxn id="71" idx="0"/>
          </p:cNvCxnSpPr>
          <p:nvPr/>
        </p:nvCxnSpPr>
        <p:spPr>
          <a:xfrm flipV="1">
            <a:off x="3115994" y="380676"/>
            <a:ext cx="2399399" cy="4654708"/>
          </a:xfrm>
          <a:prstGeom prst="bentConnector4">
            <a:avLst>
              <a:gd name="adj1" fmla="val 20392"/>
              <a:gd name="adj2" fmla="val 10491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71" idx="2"/>
            <a:endCxn id="75" idx="0"/>
          </p:cNvCxnSpPr>
          <p:nvPr/>
        </p:nvCxnSpPr>
        <p:spPr>
          <a:xfrm>
            <a:off x="5515393" y="1421685"/>
            <a:ext cx="0" cy="5887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75" idx="2"/>
            <a:endCxn id="73" idx="0"/>
          </p:cNvCxnSpPr>
          <p:nvPr/>
        </p:nvCxnSpPr>
        <p:spPr>
          <a:xfrm>
            <a:off x="5515393" y="2784122"/>
            <a:ext cx="0" cy="3753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73" idx="2"/>
            <a:endCxn id="78" idx="0"/>
          </p:cNvCxnSpPr>
          <p:nvPr/>
        </p:nvCxnSpPr>
        <p:spPr>
          <a:xfrm>
            <a:off x="5515393" y="4200485"/>
            <a:ext cx="0" cy="46679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7" name="Elbow Connector 86"/>
          <p:cNvCxnSpPr>
            <a:stCxn id="78" idx="2"/>
            <a:endCxn id="74" idx="0"/>
          </p:cNvCxnSpPr>
          <p:nvPr/>
        </p:nvCxnSpPr>
        <p:spPr>
          <a:xfrm rot="5400000">
            <a:off x="5257528" y="5962937"/>
            <a:ext cx="512514" cy="3216"/>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8" name="Elbow Connector 87"/>
          <p:cNvCxnSpPr>
            <a:stCxn id="71" idx="3"/>
            <a:endCxn id="76" idx="1"/>
          </p:cNvCxnSpPr>
          <p:nvPr/>
        </p:nvCxnSpPr>
        <p:spPr>
          <a:xfrm>
            <a:off x="6936230" y="901181"/>
            <a:ext cx="1062201" cy="658359"/>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89" name="Elbow Connector 88"/>
          <p:cNvCxnSpPr>
            <a:stCxn id="73" idx="3"/>
            <a:endCxn id="76" idx="1"/>
          </p:cNvCxnSpPr>
          <p:nvPr/>
        </p:nvCxnSpPr>
        <p:spPr>
          <a:xfrm flipV="1">
            <a:off x="6936230" y="1559540"/>
            <a:ext cx="1062201" cy="2120441"/>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76" idx="2"/>
            <a:endCxn id="72" idx="0"/>
          </p:cNvCxnSpPr>
          <p:nvPr/>
        </p:nvCxnSpPr>
        <p:spPr>
          <a:xfrm>
            <a:off x="9313760" y="2064804"/>
            <a:ext cx="0" cy="74415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72" idx="2"/>
            <a:endCxn id="77" idx="0"/>
          </p:cNvCxnSpPr>
          <p:nvPr/>
        </p:nvCxnSpPr>
        <p:spPr>
          <a:xfrm flipH="1">
            <a:off x="9298519" y="3849965"/>
            <a:ext cx="15241" cy="66491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2" name="Elbow Connector 91"/>
          <p:cNvCxnSpPr>
            <a:stCxn id="77" idx="2"/>
            <a:endCxn id="74" idx="0"/>
          </p:cNvCxnSpPr>
          <p:nvPr/>
        </p:nvCxnSpPr>
        <p:spPr>
          <a:xfrm rot="5400000">
            <a:off x="7072891" y="3995174"/>
            <a:ext cx="664914" cy="3786342"/>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93" name="Flowchart: Data 92"/>
          <p:cNvSpPr/>
          <p:nvPr/>
        </p:nvSpPr>
        <p:spPr>
          <a:xfrm>
            <a:off x="9461998" y="6220801"/>
            <a:ext cx="2841673" cy="773723"/>
          </a:xfrm>
          <a:prstGeom prst="flowChartInputOutp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r>
              <a:rPr lang="en-US" dirty="0" smtClean="0">
                <a:solidFill>
                  <a:srgbClr val="FFFFFF"/>
                </a:solidFill>
              </a:rPr>
              <a:t>return error info</a:t>
            </a:r>
            <a:endParaRPr lang="en-US" dirty="0">
              <a:solidFill>
                <a:srgbClr val="FFFFFF"/>
              </a:solidFill>
            </a:endParaRPr>
          </a:p>
        </p:txBody>
      </p:sp>
      <p:cxnSp>
        <p:nvCxnSpPr>
          <p:cNvPr id="94" name="Elbow Connector 93"/>
          <p:cNvCxnSpPr>
            <a:stCxn id="72" idx="3"/>
            <a:endCxn id="93" idx="0"/>
          </p:cNvCxnSpPr>
          <p:nvPr/>
        </p:nvCxnSpPr>
        <p:spPr>
          <a:xfrm>
            <a:off x="10734597" y="3329461"/>
            <a:ext cx="432405" cy="2891340"/>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1090572" y="5555887"/>
            <a:ext cx="512641" cy="509426"/>
            <a:chOff x="-2380655" y="3351269"/>
            <a:chExt cx="512641" cy="509426"/>
          </a:xfrm>
        </p:grpSpPr>
        <p:sp>
          <p:nvSpPr>
            <p:cNvPr id="96" name="Oval 95"/>
            <p:cNvSpPr/>
            <p:nvPr/>
          </p:nvSpPr>
          <p:spPr>
            <a:xfrm>
              <a:off x="-2379048" y="3351269"/>
              <a:ext cx="509426" cy="509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endParaRPr>
            </a:p>
          </p:txBody>
        </p:sp>
        <p:sp>
          <p:nvSpPr>
            <p:cNvPr id="97" name="TextBox 96"/>
            <p:cNvSpPr txBox="1"/>
            <p:nvPr/>
          </p:nvSpPr>
          <p:spPr>
            <a:xfrm>
              <a:off x="-2380655" y="3421316"/>
              <a:ext cx="512641" cy="369332"/>
            </a:xfrm>
            <a:prstGeom prst="rect">
              <a:avLst/>
            </a:prstGeom>
            <a:noFill/>
          </p:spPr>
          <p:txBody>
            <a:bodyPr wrap="none" rtlCol="0">
              <a:spAutoFit/>
            </a:bodyPr>
            <a:lstStyle/>
            <a:p>
              <a:pPr algn="ctr" defTabSz="932742"/>
              <a:r>
                <a:rPr lang="en-US" dirty="0" smtClean="0">
                  <a:solidFill>
                    <a:srgbClr val="7FBA00"/>
                  </a:solidFill>
                </a:rPr>
                <a:t>YES</a:t>
              </a:r>
              <a:endParaRPr lang="en-US" dirty="0">
                <a:solidFill>
                  <a:srgbClr val="7FBA00"/>
                </a:solidFill>
              </a:endParaRPr>
            </a:p>
          </p:txBody>
        </p:sp>
      </p:grpSp>
      <p:grpSp>
        <p:nvGrpSpPr>
          <p:cNvPr id="98" name="Group 97"/>
          <p:cNvGrpSpPr/>
          <p:nvPr/>
        </p:nvGrpSpPr>
        <p:grpSpPr>
          <a:xfrm>
            <a:off x="3001899" y="4444833"/>
            <a:ext cx="509426" cy="509426"/>
            <a:chOff x="-2226648" y="4927521"/>
            <a:chExt cx="509426" cy="509426"/>
          </a:xfrm>
        </p:grpSpPr>
        <p:sp>
          <p:nvSpPr>
            <p:cNvPr id="99" name="Oval 98"/>
            <p:cNvSpPr/>
            <p:nvPr/>
          </p:nvSpPr>
          <p:spPr>
            <a:xfrm>
              <a:off x="-2226648" y="4927521"/>
              <a:ext cx="509426" cy="509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endParaRPr>
            </a:p>
          </p:txBody>
        </p:sp>
        <p:sp>
          <p:nvSpPr>
            <p:cNvPr id="100" name="TextBox 99"/>
            <p:cNvSpPr txBox="1"/>
            <p:nvPr/>
          </p:nvSpPr>
          <p:spPr>
            <a:xfrm>
              <a:off x="-2214950" y="4997568"/>
              <a:ext cx="486030" cy="369332"/>
            </a:xfrm>
            <a:prstGeom prst="rect">
              <a:avLst/>
            </a:prstGeom>
            <a:noFill/>
          </p:spPr>
          <p:txBody>
            <a:bodyPr wrap="none" rtlCol="0">
              <a:spAutoFit/>
            </a:bodyPr>
            <a:lstStyle/>
            <a:p>
              <a:pPr algn="ctr" defTabSz="932742"/>
              <a:r>
                <a:rPr lang="en-US" dirty="0" smtClean="0">
                  <a:solidFill>
                    <a:srgbClr val="7FBA00"/>
                  </a:solidFill>
                </a:rPr>
                <a:t>NO</a:t>
              </a:r>
              <a:endParaRPr lang="en-US" dirty="0">
                <a:solidFill>
                  <a:srgbClr val="7FBA00"/>
                </a:solidFill>
              </a:endParaRPr>
            </a:p>
          </p:txBody>
        </p:sp>
      </p:grpSp>
      <p:grpSp>
        <p:nvGrpSpPr>
          <p:cNvPr id="101" name="Group 100"/>
          <p:cNvGrpSpPr/>
          <p:nvPr/>
        </p:nvGrpSpPr>
        <p:grpSpPr>
          <a:xfrm>
            <a:off x="4536831" y="4080868"/>
            <a:ext cx="512641" cy="509426"/>
            <a:chOff x="-2380655" y="3351269"/>
            <a:chExt cx="512641" cy="509426"/>
          </a:xfrm>
        </p:grpSpPr>
        <p:sp>
          <p:nvSpPr>
            <p:cNvPr id="102" name="Oval 101"/>
            <p:cNvSpPr/>
            <p:nvPr/>
          </p:nvSpPr>
          <p:spPr>
            <a:xfrm>
              <a:off x="-2379048" y="3351269"/>
              <a:ext cx="509426" cy="509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endParaRPr>
            </a:p>
          </p:txBody>
        </p:sp>
        <p:sp>
          <p:nvSpPr>
            <p:cNvPr id="103" name="TextBox 102"/>
            <p:cNvSpPr txBox="1"/>
            <p:nvPr/>
          </p:nvSpPr>
          <p:spPr>
            <a:xfrm>
              <a:off x="-2380655" y="3421316"/>
              <a:ext cx="512641" cy="369332"/>
            </a:xfrm>
            <a:prstGeom prst="rect">
              <a:avLst/>
            </a:prstGeom>
            <a:noFill/>
          </p:spPr>
          <p:txBody>
            <a:bodyPr wrap="none" rtlCol="0">
              <a:spAutoFit/>
            </a:bodyPr>
            <a:lstStyle/>
            <a:p>
              <a:pPr algn="ctr" defTabSz="932742"/>
              <a:r>
                <a:rPr lang="en-US" dirty="0" smtClean="0">
                  <a:solidFill>
                    <a:srgbClr val="7FBA00"/>
                  </a:solidFill>
                </a:rPr>
                <a:t>YES</a:t>
              </a:r>
              <a:endParaRPr lang="en-US" dirty="0">
                <a:solidFill>
                  <a:srgbClr val="7FBA00"/>
                </a:solidFill>
              </a:endParaRPr>
            </a:p>
          </p:txBody>
        </p:sp>
      </p:grpSp>
      <p:grpSp>
        <p:nvGrpSpPr>
          <p:cNvPr id="104" name="Group 103"/>
          <p:cNvGrpSpPr/>
          <p:nvPr/>
        </p:nvGrpSpPr>
        <p:grpSpPr>
          <a:xfrm>
            <a:off x="5002752" y="1423988"/>
            <a:ext cx="512641" cy="509426"/>
            <a:chOff x="-2380655" y="3351269"/>
            <a:chExt cx="512641" cy="509426"/>
          </a:xfrm>
        </p:grpSpPr>
        <p:sp>
          <p:nvSpPr>
            <p:cNvPr id="105" name="Oval 104"/>
            <p:cNvSpPr/>
            <p:nvPr/>
          </p:nvSpPr>
          <p:spPr>
            <a:xfrm>
              <a:off x="-2379048" y="3351269"/>
              <a:ext cx="509426" cy="509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endParaRPr>
            </a:p>
          </p:txBody>
        </p:sp>
        <p:sp>
          <p:nvSpPr>
            <p:cNvPr id="106" name="TextBox 105"/>
            <p:cNvSpPr txBox="1"/>
            <p:nvPr/>
          </p:nvSpPr>
          <p:spPr>
            <a:xfrm>
              <a:off x="-2380655" y="3421316"/>
              <a:ext cx="512641" cy="369332"/>
            </a:xfrm>
            <a:prstGeom prst="rect">
              <a:avLst/>
            </a:prstGeom>
            <a:noFill/>
          </p:spPr>
          <p:txBody>
            <a:bodyPr wrap="none" rtlCol="0">
              <a:spAutoFit/>
            </a:bodyPr>
            <a:lstStyle/>
            <a:p>
              <a:pPr algn="ctr" defTabSz="932742"/>
              <a:r>
                <a:rPr lang="en-US" dirty="0" smtClean="0">
                  <a:solidFill>
                    <a:srgbClr val="7FBA00"/>
                  </a:solidFill>
                </a:rPr>
                <a:t>YES</a:t>
              </a:r>
              <a:endParaRPr lang="en-US" dirty="0">
                <a:solidFill>
                  <a:srgbClr val="7FBA00"/>
                </a:solidFill>
              </a:endParaRPr>
            </a:p>
          </p:txBody>
        </p:sp>
      </p:grpSp>
      <p:grpSp>
        <p:nvGrpSpPr>
          <p:cNvPr id="107" name="Group 106"/>
          <p:cNvGrpSpPr/>
          <p:nvPr/>
        </p:nvGrpSpPr>
        <p:grpSpPr>
          <a:xfrm>
            <a:off x="8663160" y="3814908"/>
            <a:ext cx="512641" cy="509426"/>
            <a:chOff x="-2380655" y="3351269"/>
            <a:chExt cx="512641" cy="509426"/>
          </a:xfrm>
        </p:grpSpPr>
        <p:sp>
          <p:nvSpPr>
            <p:cNvPr id="108" name="Oval 107"/>
            <p:cNvSpPr/>
            <p:nvPr/>
          </p:nvSpPr>
          <p:spPr>
            <a:xfrm>
              <a:off x="-2379048" y="3351269"/>
              <a:ext cx="509426" cy="509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endParaRPr>
            </a:p>
          </p:txBody>
        </p:sp>
        <p:sp>
          <p:nvSpPr>
            <p:cNvPr id="109" name="TextBox 108"/>
            <p:cNvSpPr txBox="1"/>
            <p:nvPr/>
          </p:nvSpPr>
          <p:spPr>
            <a:xfrm>
              <a:off x="-2380655" y="3421316"/>
              <a:ext cx="512641" cy="369332"/>
            </a:xfrm>
            <a:prstGeom prst="rect">
              <a:avLst/>
            </a:prstGeom>
            <a:noFill/>
          </p:spPr>
          <p:txBody>
            <a:bodyPr wrap="none" rtlCol="0">
              <a:spAutoFit/>
            </a:bodyPr>
            <a:lstStyle/>
            <a:p>
              <a:pPr algn="ctr" defTabSz="932742"/>
              <a:r>
                <a:rPr lang="en-US" dirty="0" smtClean="0">
                  <a:solidFill>
                    <a:srgbClr val="7FBA00"/>
                  </a:solidFill>
                </a:rPr>
                <a:t>YES</a:t>
              </a:r>
              <a:endParaRPr lang="en-US" dirty="0">
                <a:solidFill>
                  <a:srgbClr val="7FBA00"/>
                </a:solidFill>
              </a:endParaRPr>
            </a:p>
          </p:txBody>
        </p:sp>
      </p:grpSp>
      <p:grpSp>
        <p:nvGrpSpPr>
          <p:cNvPr id="110" name="Group 109"/>
          <p:cNvGrpSpPr/>
          <p:nvPr/>
        </p:nvGrpSpPr>
        <p:grpSpPr>
          <a:xfrm>
            <a:off x="6787025" y="3005884"/>
            <a:ext cx="509426" cy="509426"/>
            <a:chOff x="-2226648" y="4927521"/>
            <a:chExt cx="509426" cy="509426"/>
          </a:xfrm>
        </p:grpSpPr>
        <p:sp>
          <p:nvSpPr>
            <p:cNvPr id="111" name="Oval 110"/>
            <p:cNvSpPr/>
            <p:nvPr/>
          </p:nvSpPr>
          <p:spPr>
            <a:xfrm>
              <a:off x="-2226648" y="4927521"/>
              <a:ext cx="509426" cy="509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endParaRPr>
            </a:p>
          </p:txBody>
        </p:sp>
        <p:sp>
          <p:nvSpPr>
            <p:cNvPr id="112" name="TextBox 111"/>
            <p:cNvSpPr txBox="1"/>
            <p:nvPr/>
          </p:nvSpPr>
          <p:spPr>
            <a:xfrm>
              <a:off x="-2214950" y="4997568"/>
              <a:ext cx="486030" cy="369332"/>
            </a:xfrm>
            <a:prstGeom prst="rect">
              <a:avLst/>
            </a:prstGeom>
            <a:noFill/>
          </p:spPr>
          <p:txBody>
            <a:bodyPr wrap="none" rtlCol="0">
              <a:spAutoFit/>
            </a:bodyPr>
            <a:lstStyle/>
            <a:p>
              <a:pPr algn="ctr" defTabSz="932742"/>
              <a:r>
                <a:rPr lang="en-US" dirty="0" smtClean="0">
                  <a:solidFill>
                    <a:srgbClr val="7FBA00"/>
                  </a:solidFill>
                </a:rPr>
                <a:t>NO</a:t>
              </a:r>
              <a:endParaRPr lang="en-US" dirty="0">
                <a:solidFill>
                  <a:srgbClr val="7FBA00"/>
                </a:solidFill>
              </a:endParaRPr>
            </a:p>
          </p:txBody>
        </p:sp>
      </p:grpSp>
      <p:grpSp>
        <p:nvGrpSpPr>
          <p:cNvPr id="113" name="Group 112"/>
          <p:cNvGrpSpPr/>
          <p:nvPr/>
        </p:nvGrpSpPr>
        <p:grpSpPr>
          <a:xfrm>
            <a:off x="6703191" y="245295"/>
            <a:ext cx="509426" cy="509426"/>
            <a:chOff x="-2226648" y="4927521"/>
            <a:chExt cx="509426" cy="509426"/>
          </a:xfrm>
        </p:grpSpPr>
        <p:sp>
          <p:nvSpPr>
            <p:cNvPr id="114" name="Oval 113"/>
            <p:cNvSpPr/>
            <p:nvPr/>
          </p:nvSpPr>
          <p:spPr>
            <a:xfrm>
              <a:off x="-2226648" y="4927521"/>
              <a:ext cx="509426" cy="509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endParaRPr>
            </a:p>
          </p:txBody>
        </p:sp>
        <p:sp>
          <p:nvSpPr>
            <p:cNvPr id="115" name="TextBox 114"/>
            <p:cNvSpPr txBox="1"/>
            <p:nvPr/>
          </p:nvSpPr>
          <p:spPr>
            <a:xfrm>
              <a:off x="-2214950" y="4997568"/>
              <a:ext cx="486030" cy="369332"/>
            </a:xfrm>
            <a:prstGeom prst="rect">
              <a:avLst/>
            </a:prstGeom>
            <a:noFill/>
          </p:spPr>
          <p:txBody>
            <a:bodyPr wrap="none" rtlCol="0">
              <a:spAutoFit/>
            </a:bodyPr>
            <a:lstStyle/>
            <a:p>
              <a:pPr algn="ctr" defTabSz="932742"/>
              <a:r>
                <a:rPr lang="en-US" dirty="0" smtClean="0">
                  <a:solidFill>
                    <a:srgbClr val="7FBA00"/>
                  </a:solidFill>
                </a:rPr>
                <a:t>NO</a:t>
              </a:r>
              <a:endParaRPr lang="en-US" dirty="0">
                <a:solidFill>
                  <a:srgbClr val="7FBA00"/>
                </a:solidFill>
              </a:endParaRPr>
            </a:p>
          </p:txBody>
        </p:sp>
      </p:grpSp>
      <p:grpSp>
        <p:nvGrpSpPr>
          <p:cNvPr id="116" name="Group 115"/>
          <p:cNvGrpSpPr/>
          <p:nvPr/>
        </p:nvGrpSpPr>
        <p:grpSpPr>
          <a:xfrm>
            <a:off x="10628122" y="2770644"/>
            <a:ext cx="509426" cy="509426"/>
            <a:chOff x="-2226648" y="4927521"/>
            <a:chExt cx="509426" cy="509426"/>
          </a:xfrm>
        </p:grpSpPr>
        <p:sp>
          <p:nvSpPr>
            <p:cNvPr id="117" name="Oval 116"/>
            <p:cNvSpPr/>
            <p:nvPr/>
          </p:nvSpPr>
          <p:spPr>
            <a:xfrm>
              <a:off x="-2226648" y="4927521"/>
              <a:ext cx="509426" cy="509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endParaRPr>
            </a:p>
          </p:txBody>
        </p:sp>
        <p:sp>
          <p:nvSpPr>
            <p:cNvPr id="118" name="TextBox 117"/>
            <p:cNvSpPr txBox="1"/>
            <p:nvPr/>
          </p:nvSpPr>
          <p:spPr>
            <a:xfrm>
              <a:off x="-2214950" y="4997568"/>
              <a:ext cx="486030" cy="369332"/>
            </a:xfrm>
            <a:prstGeom prst="rect">
              <a:avLst/>
            </a:prstGeom>
            <a:noFill/>
          </p:spPr>
          <p:txBody>
            <a:bodyPr wrap="none" rtlCol="0">
              <a:spAutoFit/>
            </a:bodyPr>
            <a:lstStyle/>
            <a:p>
              <a:pPr algn="ctr" defTabSz="932742"/>
              <a:r>
                <a:rPr lang="en-US" dirty="0" smtClean="0">
                  <a:solidFill>
                    <a:srgbClr val="7FBA00"/>
                  </a:solidFill>
                </a:rPr>
                <a:t>NO</a:t>
              </a:r>
              <a:endParaRPr lang="en-US" dirty="0">
                <a:solidFill>
                  <a:srgbClr val="7FBA00"/>
                </a:solidFill>
              </a:endParaRPr>
            </a:p>
          </p:txBody>
        </p:sp>
      </p:grpSp>
      <p:grpSp>
        <p:nvGrpSpPr>
          <p:cNvPr id="119" name="Group 118"/>
          <p:cNvGrpSpPr/>
          <p:nvPr/>
        </p:nvGrpSpPr>
        <p:grpSpPr>
          <a:xfrm>
            <a:off x="1090572" y="3752235"/>
            <a:ext cx="512641" cy="509426"/>
            <a:chOff x="-2380655" y="3351269"/>
            <a:chExt cx="512641" cy="509426"/>
          </a:xfrm>
        </p:grpSpPr>
        <p:sp>
          <p:nvSpPr>
            <p:cNvPr id="120" name="Oval 119"/>
            <p:cNvSpPr/>
            <p:nvPr/>
          </p:nvSpPr>
          <p:spPr>
            <a:xfrm>
              <a:off x="-2379048" y="3351269"/>
              <a:ext cx="509426" cy="509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endParaRPr>
            </a:p>
          </p:txBody>
        </p:sp>
        <p:sp>
          <p:nvSpPr>
            <p:cNvPr id="121" name="TextBox 120"/>
            <p:cNvSpPr txBox="1"/>
            <p:nvPr/>
          </p:nvSpPr>
          <p:spPr>
            <a:xfrm>
              <a:off x="-2380655" y="3421316"/>
              <a:ext cx="512641" cy="369332"/>
            </a:xfrm>
            <a:prstGeom prst="rect">
              <a:avLst/>
            </a:prstGeom>
            <a:noFill/>
          </p:spPr>
          <p:txBody>
            <a:bodyPr wrap="none" rtlCol="0">
              <a:spAutoFit/>
            </a:bodyPr>
            <a:lstStyle/>
            <a:p>
              <a:pPr algn="ctr" defTabSz="932742"/>
              <a:r>
                <a:rPr lang="en-US" dirty="0" smtClean="0">
                  <a:solidFill>
                    <a:srgbClr val="7FBA00"/>
                  </a:solidFill>
                </a:rPr>
                <a:t>YES</a:t>
              </a:r>
              <a:endParaRPr lang="en-US" dirty="0">
                <a:solidFill>
                  <a:srgbClr val="7FBA00"/>
                </a:solidFill>
              </a:endParaRPr>
            </a:p>
          </p:txBody>
        </p:sp>
      </p:grpSp>
      <p:grpSp>
        <p:nvGrpSpPr>
          <p:cNvPr id="122" name="Group 121"/>
          <p:cNvGrpSpPr/>
          <p:nvPr/>
        </p:nvGrpSpPr>
        <p:grpSpPr>
          <a:xfrm>
            <a:off x="3001899" y="2641181"/>
            <a:ext cx="509426" cy="509426"/>
            <a:chOff x="-2226648" y="4927521"/>
            <a:chExt cx="509426" cy="509426"/>
          </a:xfrm>
        </p:grpSpPr>
        <p:sp>
          <p:nvSpPr>
            <p:cNvPr id="123" name="Oval 122"/>
            <p:cNvSpPr/>
            <p:nvPr/>
          </p:nvSpPr>
          <p:spPr>
            <a:xfrm>
              <a:off x="-2226648" y="4927521"/>
              <a:ext cx="509426" cy="50942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42"/>
              <a:endParaRPr lang="en-US">
                <a:solidFill>
                  <a:srgbClr val="FFFFFF"/>
                </a:solidFill>
              </a:endParaRPr>
            </a:p>
          </p:txBody>
        </p:sp>
        <p:sp>
          <p:nvSpPr>
            <p:cNvPr id="124" name="TextBox 123"/>
            <p:cNvSpPr txBox="1"/>
            <p:nvPr/>
          </p:nvSpPr>
          <p:spPr>
            <a:xfrm>
              <a:off x="-2214950" y="4997568"/>
              <a:ext cx="486030" cy="369332"/>
            </a:xfrm>
            <a:prstGeom prst="rect">
              <a:avLst/>
            </a:prstGeom>
            <a:noFill/>
          </p:spPr>
          <p:txBody>
            <a:bodyPr wrap="none" rtlCol="0">
              <a:spAutoFit/>
            </a:bodyPr>
            <a:lstStyle/>
            <a:p>
              <a:pPr algn="ctr" defTabSz="932742"/>
              <a:r>
                <a:rPr lang="en-US" dirty="0" smtClean="0">
                  <a:solidFill>
                    <a:srgbClr val="7FBA00"/>
                  </a:solidFill>
                </a:rPr>
                <a:t>NO</a:t>
              </a:r>
              <a:endParaRPr lang="en-US" dirty="0">
                <a:solidFill>
                  <a:srgbClr val="7FBA00"/>
                </a:solidFill>
              </a:endParaRPr>
            </a:p>
          </p:txBody>
        </p:sp>
      </p:grpSp>
    </p:spTree>
    <p:extLst>
      <p:ext uri="{BB962C8B-B14F-4D97-AF65-F5344CB8AC3E}">
        <p14:creationId xmlns:p14="http://schemas.microsoft.com/office/powerpoint/2010/main" val="151412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800" dirty="0" smtClean="0"/>
              <a:t>Access resources outside of the corporate network.</a:t>
            </a:r>
          </a:p>
          <a:p>
            <a:r>
              <a:rPr lang="en-US" sz="2400" dirty="0" smtClean="0">
                <a:latin typeface="+mn-lt"/>
              </a:rPr>
              <a:t>Use OAuth2.</a:t>
            </a:r>
          </a:p>
          <a:p>
            <a:pPr lvl="2"/>
            <a:r>
              <a:rPr lang="en-US" sz="2000" dirty="0" smtClean="0"/>
              <a:t>Register client app and resources in Active Directory</a:t>
            </a:r>
          </a:p>
          <a:p>
            <a:pPr lvl="2"/>
            <a:r>
              <a:rPr lang="en-US" sz="2000" dirty="0" smtClean="0"/>
              <a:t>Get and use access tokens</a:t>
            </a:r>
            <a:endParaRPr lang="en-US" sz="2000" dirty="0"/>
          </a:p>
          <a:p>
            <a:r>
              <a:rPr lang="en-US" sz="2800" dirty="0" smtClean="0"/>
              <a:t>Handle authentication and session mechanics.</a:t>
            </a:r>
          </a:p>
          <a:p>
            <a:r>
              <a:rPr lang="en-US" sz="2400" dirty="0">
                <a:latin typeface="+mn-lt"/>
              </a:rPr>
              <a:t>Use </a:t>
            </a:r>
            <a:r>
              <a:rPr lang="en-US" sz="2400" dirty="0" smtClean="0">
                <a:latin typeface="+mn-lt"/>
              </a:rPr>
              <a:t>the Windows Azure Authentication Library.</a:t>
            </a:r>
            <a:endParaRPr lang="en-US" sz="2400" dirty="0">
              <a:latin typeface="+mn-lt"/>
            </a:endParaRPr>
          </a:p>
          <a:p>
            <a:r>
              <a:rPr lang="en-US" sz="2800" dirty="0" smtClean="0"/>
              <a:t>Apply access policies on non-domain joined devices.</a:t>
            </a:r>
          </a:p>
        </p:txBody>
      </p:sp>
      <p:sp>
        <p:nvSpPr>
          <p:cNvPr id="4" name="Content Placeholder 3"/>
          <p:cNvSpPr>
            <a:spLocks noGrp="1"/>
          </p:cNvSpPr>
          <p:nvPr>
            <p:ph type="body" sz="quarter" idx="11"/>
          </p:nvPr>
        </p:nvSpPr>
        <p:spPr/>
        <p:txBody>
          <a:bodyPr/>
          <a:lstStyle/>
          <a:p>
            <a:r>
              <a:rPr lang="en-US" sz="2000" dirty="0" smtClean="0"/>
              <a:t>Tackle those, and you’ve got yourself a nice business app.</a:t>
            </a:r>
          </a:p>
        </p:txBody>
      </p:sp>
      <p:sp>
        <p:nvSpPr>
          <p:cNvPr id="3" name="Title 2"/>
          <p:cNvSpPr>
            <a:spLocks noGrp="1"/>
          </p:cNvSpPr>
          <p:nvPr>
            <p:ph type="title"/>
          </p:nvPr>
        </p:nvSpPr>
        <p:spPr/>
        <p:txBody>
          <a:bodyPr/>
          <a:lstStyle/>
          <a:p>
            <a:r>
              <a:rPr lang="en-US" dirty="0" smtClean="0"/>
              <a:t>Checklist</a:t>
            </a:r>
            <a:endParaRPr lang="en-US" dirty="0"/>
          </a:p>
        </p:txBody>
      </p:sp>
      <p:sp>
        <p:nvSpPr>
          <p:cNvPr id="5" name="Rectangle 4"/>
          <p:cNvSpPr/>
          <p:nvPr/>
        </p:nvSpPr>
        <p:spPr bwMode="auto">
          <a:xfrm>
            <a:off x="3170237" y="1897062"/>
            <a:ext cx="304800" cy="304800"/>
          </a:xfrm>
          <a:prstGeom prst="rect">
            <a:avLst/>
          </a:prstGeom>
          <a:solidFill>
            <a:srgbClr val="00188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3170237" y="3573462"/>
            <a:ext cx="304800" cy="304800"/>
          </a:xfrm>
          <a:prstGeom prst="rect">
            <a:avLst/>
          </a:prstGeom>
          <a:solidFill>
            <a:srgbClr val="00188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3170237" y="4487862"/>
            <a:ext cx="304800" cy="304800"/>
          </a:xfrm>
          <a:prstGeom prst="rect">
            <a:avLst/>
          </a:prstGeom>
          <a:solidFill>
            <a:srgbClr val="00188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rotWithShape="1">
          <a:blip r:embed="rId2"/>
          <a:srcRect l="31247" t="23694" r="31256" b="40763"/>
          <a:stretch/>
        </p:blipFill>
        <p:spPr>
          <a:xfrm>
            <a:off x="3132656" y="1820862"/>
            <a:ext cx="457200" cy="457200"/>
          </a:xfrm>
          <a:prstGeom prst="rect">
            <a:avLst/>
          </a:prstGeom>
        </p:spPr>
      </p:pic>
    </p:spTree>
    <p:extLst>
      <p:ext uri="{BB962C8B-B14F-4D97-AF65-F5344CB8AC3E}">
        <p14:creationId xmlns:p14="http://schemas.microsoft.com/office/powerpoint/2010/main" val="127045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pply access policies on non-domain joined </a:t>
            </a:r>
            <a:r>
              <a:rPr lang="en-US" dirty="0" smtClean="0"/>
              <a:t>devices</a:t>
            </a:r>
            <a:endParaRPr lang="en-US" dirty="0"/>
          </a:p>
        </p:txBody>
      </p:sp>
    </p:spTree>
    <p:extLst>
      <p:ext uri="{BB962C8B-B14F-4D97-AF65-F5344CB8AC3E}">
        <p14:creationId xmlns:p14="http://schemas.microsoft.com/office/powerpoint/2010/main" val="2334476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orkplace-join in Windows 8.1</a:t>
            </a:r>
            <a:endParaRPr lang="en-US" dirty="0"/>
          </a:p>
        </p:txBody>
      </p:sp>
      <p:sp>
        <p:nvSpPr>
          <p:cNvPr id="2" name="Text Placeholder 1"/>
          <p:cNvSpPr>
            <a:spLocks noGrp="1"/>
          </p:cNvSpPr>
          <p:nvPr>
            <p:ph type="body" sz="quarter" idx="10"/>
          </p:nvPr>
        </p:nvSpPr>
        <p:spPr/>
        <p:txBody>
          <a:bodyPr/>
          <a:lstStyle/>
          <a:p>
            <a:r>
              <a:rPr lang="en-US" sz="2800" dirty="0" smtClean="0"/>
              <a:t>Especially useful for</a:t>
            </a:r>
          </a:p>
          <a:p>
            <a:r>
              <a:rPr lang="en-US" sz="2400" dirty="0">
                <a:latin typeface="+mn-lt"/>
              </a:rPr>
              <a:t>user-owned devices</a:t>
            </a:r>
          </a:p>
          <a:p>
            <a:r>
              <a:rPr lang="en-US" sz="2400" dirty="0">
                <a:latin typeface="+mn-lt"/>
              </a:rPr>
              <a:t>Devices incapable of joining a domain</a:t>
            </a:r>
          </a:p>
          <a:p>
            <a:r>
              <a:rPr lang="en-US" sz="2800" dirty="0" smtClean="0"/>
              <a:t>Allows administrator to apply access control policies in a wide range of scenarios</a:t>
            </a:r>
            <a:br>
              <a:rPr lang="en-US" sz="2800" dirty="0" smtClean="0"/>
            </a:br>
            <a:r>
              <a:rPr lang="en-US" sz="2800" dirty="0" smtClean="0"/>
              <a:t>Workplace-join ability available directly in Windows 8.1</a:t>
            </a:r>
          </a:p>
        </p:txBody>
      </p:sp>
    </p:spTree>
    <p:extLst>
      <p:ext uri="{BB962C8B-B14F-4D97-AF65-F5344CB8AC3E}">
        <p14:creationId xmlns:p14="http://schemas.microsoft.com/office/powerpoint/2010/main" val="418638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orkplace Join Mechanics</a:t>
            </a:r>
            <a:endParaRPr lang="en-US" dirty="0"/>
          </a:p>
        </p:txBody>
      </p:sp>
      <p:sp>
        <p:nvSpPr>
          <p:cNvPr id="5" name="Slide Number Placeholder 1"/>
          <p:cNvSpPr txBox="1">
            <a:spLocks/>
          </p:cNvSpPr>
          <p:nvPr/>
        </p:nvSpPr>
        <p:spPr>
          <a:xfrm>
            <a:off x="11645032" y="6963839"/>
            <a:ext cx="511592" cy="124650"/>
          </a:xfrm>
          <a:prstGeom prst="rect">
            <a:avLst/>
          </a:prstGeom>
        </p:spPr>
        <p:txBody>
          <a:bodyPr/>
          <a:ls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a:lstStyle>
          <a:p>
            <a:pPr>
              <a:lnSpc>
                <a:spcPct val="90000"/>
              </a:lnSpc>
            </a:pPr>
            <a:fld id="{1BC86A1F-E589-44B2-A543-2EC98F5547A7}" type="slidenum">
              <a:rPr lang="en-US" smtClean="0">
                <a:solidFill>
                  <a:srgbClr val="FFFFFF"/>
                </a:solidFill>
              </a:rPr>
              <a:pPr>
                <a:lnSpc>
                  <a:spcPct val="90000"/>
                </a:lnSpc>
              </a:pPr>
              <a:t>25</a:t>
            </a:fld>
            <a:endParaRPr lang="en-US" dirty="0">
              <a:solidFill>
                <a:srgbClr val="FFFFFF"/>
              </a:solidFill>
            </a:endParaRPr>
          </a:p>
        </p:txBody>
      </p:sp>
      <p:sp>
        <p:nvSpPr>
          <p:cNvPr id="6" name="Rectangle 5"/>
          <p:cNvSpPr/>
          <p:nvPr>
            <p:custDataLst>
              <p:tags r:id="rId1"/>
            </p:custDataLst>
          </p:nvPr>
        </p:nvSpPr>
        <p:spPr bwMode="auto">
          <a:xfrm>
            <a:off x="3966997" y="5935754"/>
            <a:ext cx="4041723" cy="1058771"/>
          </a:xfrm>
          <a:prstGeom prst="rect">
            <a:avLst/>
          </a:prstGeom>
          <a:ln>
            <a:noFill/>
          </a:ln>
        </p:spPr>
        <p:txBody>
          <a:bodyPr vert="horz" wrap="square" lIns="0" tIns="0" rIns="0" bIns="0" rtlCol="0">
            <a:spAutoFit/>
          </a:bodyPr>
          <a:lstStyle/>
          <a:p>
            <a:pPr defTabSz="932563">
              <a:lnSpc>
                <a:spcPct val="90000"/>
              </a:lnSpc>
              <a:spcBef>
                <a:spcPts val="1224"/>
              </a:spcBef>
            </a:pPr>
            <a:r>
              <a:rPr lang="en-US" sz="1499" spc="-31" dirty="0">
                <a:solidFill>
                  <a:srgbClr val="FFFFFF"/>
                </a:solidFill>
              </a:rPr>
              <a:t>IT can </a:t>
            </a:r>
            <a:r>
              <a:rPr lang="en-US" sz="1499" b="1" spc="-31" dirty="0">
                <a:solidFill>
                  <a:srgbClr val="FFFFFF"/>
                </a:solidFill>
              </a:rPr>
              <a:t>publish access</a:t>
            </a:r>
            <a:r>
              <a:rPr lang="en-US" sz="1499" spc="-31" dirty="0">
                <a:solidFill>
                  <a:srgbClr val="FFFFFF"/>
                </a:solidFill>
              </a:rPr>
              <a:t> to corporate resources with the </a:t>
            </a:r>
            <a:r>
              <a:rPr lang="en-US" sz="1499" b="1" spc="-31" dirty="0">
                <a:solidFill>
                  <a:srgbClr val="FFFFFF"/>
                </a:solidFill>
              </a:rPr>
              <a:t>Web Application Proxy</a:t>
            </a:r>
            <a:r>
              <a:rPr lang="en-US" sz="1499" spc="-31" dirty="0">
                <a:solidFill>
                  <a:srgbClr val="FFFFFF"/>
                </a:solidFill>
              </a:rPr>
              <a:t> based on device awareness and the users identity. </a:t>
            </a:r>
            <a:r>
              <a:rPr lang="en-US" sz="1499" b="1" spc="-31" dirty="0">
                <a:solidFill>
                  <a:srgbClr val="FFFFFF"/>
                </a:solidFill>
              </a:rPr>
              <a:t>Multi-factor authentication</a:t>
            </a:r>
            <a:r>
              <a:rPr lang="en-US" sz="1499" spc="-31" dirty="0">
                <a:solidFill>
                  <a:srgbClr val="FFFFFF"/>
                </a:solidFill>
              </a:rPr>
              <a:t> can be used through </a:t>
            </a:r>
            <a:r>
              <a:rPr lang="en-US" sz="1499" b="1" spc="-31" dirty="0">
                <a:solidFill>
                  <a:srgbClr val="FFFFFF"/>
                </a:solidFill>
              </a:rPr>
              <a:t>Windows Azure Active Authentication.</a:t>
            </a:r>
          </a:p>
        </p:txBody>
      </p:sp>
      <p:sp>
        <p:nvSpPr>
          <p:cNvPr id="7" name="Rectangle 6"/>
          <p:cNvSpPr/>
          <p:nvPr/>
        </p:nvSpPr>
        <p:spPr bwMode="auto">
          <a:xfrm>
            <a:off x="461815" y="4881711"/>
            <a:ext cx="2374200" cy="1328825"/>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Users can </a:t>
            </a:r>
            <a:r>
              <a:rPr lang="en-US" sz="1599" b="1" spc="-30" dirty="0">
                <a:solidFill>
                  <a:srgbClr val="FFFFFF"/>
                </a:solidFill>
              </a:rPr>
              <a:t>register</a:t>
            </a:r>
            <a:r>
              <a:rPr lang="en-US" sz="1599" spc="-30" dirty="0">
                <a:solidFill>
                  <a:srgbClr val="FFFFFF"/>
                </a:solidFill>
              </a:rPr>
              <a:t> BYO devices for </a:t>
            </a:r>
            <a:r>
              <a:rPr lang="en-US" sz="1599" b="1" spc="-30" dirty="0">
                <a:solidFill>
                  <a:srgbClr val="FFFFFF"/>
                </a:solidFill>
              </a:rPr>
              <a:t>single sign-on </a:t>
            </a:r>
            <a:r>
              <a:rPr lang="en-US" sz="1599" spc="-30" dirty="0">
                <a:solidFill>
                  <a:srgbClr val="FFFFFF"/>
                </a:solidFill>
              </a:rPr>
              <a:t>and access to corporate data with </a:t>
            </a:r>
            <a:r>
              <a:rPr lang="en-US" sz="1599" b="1" spc="-30" dirty="0">
                <a:solidFill>
                  <a:srgbClr val="FFFFFF"/>
                </a:solidFill>
              </a:rPr>
              <a:t>Workplace Join</a:t>
            </a:r>
            <a:r>
              <a:rPr lang="en-US" sz="1599" spc="-30" dirty="0">
                <a:solidFill>
                  <a:srgbClr val="FFFFFF"/>
                </a:solidFill>
              </a:rPr>
              <a:t>. As part of this, a </a:t>
            </a:r>
            <a:r>
              <a:rPr lang="en-US" sz="1599" b="1" spc="-30" dirty="0">
                <a:solidFill>
                  <a:srgbClr val="FFFFFF"/>
                </a:solidFill>
              </a:rPr>
              <a:t>certificate</a:t>
            </a:r>
            <a:r>
              <a:rPr lang="en-US" sz="1599" spc="-30" dirty="0">
                <a:solidFill>
                  <a:srgbClr val="FFFFFF"/>
                </a:solidFill>
              </a:rPr>
              <a:t> is installed on the device</a:t>
            </a:r>
            <a:endParaRPr lang="en-US" sz="1599" b="1" spc="-30" dirty="0">
              <a:solidFill>
                <a:srgbClr val="FFFFFF"/>
              </a:solidFill>
            </a:endParaRPr>
          </a:p>
        </p:txBody>
      </p:sp>
      <p:sp>
        <p:nvSpPr>
          <p:cNvPr id="8" name="Rectangle 7"/>
          <p:cNvSpPr/>
          <p:nvPr/>
        </p:nvSpPr>
        <p:spPr bwMode="auto">
          <a:xfrm>
            <a:off x="4825388" y="2016199"/>
            <a:ext cx="3226253" cy="1058771"/>
          </a:xfrm>
          <a:prstGeom prst="rect">
            <a:avLst/>
          </a:prstGeom>
          <a:ln>
            <a:noFill/>
          </a:ln>
        </p:spPr>
        <p:txBody>
          <a:bodyPr vert="horz" wrap="square" lIns="0" tIns="0" rIns="0" bIns="0" rtlCol="0">
            <a:spAutoFit/>
          </a:bodyPr>
          <a:lstStyle/>
          <a:p>
            <a:pPr defTabSz="932563">
              <a:lnSpc>
                <a:spcPct val="90000"/>
              </a:lnSpc>
              <a:spcBef>
                <a:spcPts val="1199"/>
              </a:spcBef>
            </a:pPr>
            <a:r>
              <a:rPr lang="en-US" sz="1499" spc="-30" dirty="0">
                <a:solidFill>
                  <a:srgbClr val="FFFFFF"/>
                </a:solidFill>
              </a:rPr>
              <a:t>Users can </a:t>
            </a:r>
            <a:r>
              <a:rPr lang="en-US" sz="1499" b="1" spc="-30" dirty="0">
                <a:solidFill>
                  <a:srgbClr val="FFFFFF"/>
                </a:solidFill>
              </a:rPr>
              <a:t>enroll devices </a:t>
            </a:r>
            <a:r>
              <a:rPr lang="en-US" sz="1499" spc="-30" dirty="0">
                <a:solidFill>
                  <a:srgbClr val="FFFFFF"/>
                </a:solidFill>
              </a:rPr>
              <a:t>which configure the device for management with Windows </a:t>
            </a:r>
            <a:r>
              <a:rPr lang="en-US" sz="1499" spc="-30" dirty="0" err="1">
                <a:solidFill>
                  <a:srgbClr val="FFFFFF"/>
                </a:solidFill>
              </a:rPr>
              <a:t>Intune</a:t>
            </a:r>
            <a:r>
              <a:rPr lang="en-US" sz="1499" spc="-30" dirty="0">
                <a:solidFill>
                  <a:srgbClr val="FFFFFF"/>
                </a:solidFill>
              </a:rPr>
              <a:t>.  The user can then use the </a:t>
            </a:r>
            <a:r>
              <a:rPr lang="en-US" sz="1499" b="1" spc="-30" dirty="0">
                <a:solidFill>
                  <a:srgbClr val="FFFFFF"/>
                </a:solidFill>
              </a:rPr>
              <a:t>Company Portal </a:t>
            </a:r>
            <a:r>
              <a:rPr lang="en-US" sz="1499" spc="-30" dirty="0">
                <a:solidFill>
                  <a:srgbClr val="FFFFFF"/>
                </a:solidFill>
              </a:rPr>
              <a:t>for easy access to corporate applications</a:t>
            </a:r>
          </a:p>
        </p:txBody>
      </p:sp>
      <p:sp>
        <p:nvSpPr>
          <p:cNvPr id="9" name="Rectangle 8"/>
          <p:cNvSpPr/>
          <p:nvPr/>
        </p:nvSpPr>
        <p:spPr bwMode="auto">
          <a:xfrm>
            <a:off x="9463018" y="5925094"/>
            <a:ext cx="2682549" cy="1058771"/>
          </a:xfrm>
          <a:prstGeom prst="rect">
            <a:avLst/>
          </a:prstGeom>
          <a:ln>
            <a:noFill/>
          </a:ln>
        </p:spPr>
        <p:txBody>
          <a:bodyPr vert="horz" wrap="square" lIns="0" tIns="0" rIns="0" bIns="0" rtlCol="0">
            <a:spAutoFit/>
          </a:bodyPr>
          <a:lstStyle/>
          <a:p>
            <a:pPr defTabSz="932563">
              <a:lnSpc>
                <a:spcPct val="90000"/>
              </a:lnSpc>
              <a:spcBef>
                <a:spcPts val="1199"/>
              </a:spcBef>
            </a:pPr>
            <a:r>
              <a:rPr lang="en-US" sz="1499" spc="-30" dirty="0">
                <a:solidFill>
                  <a:srgbClr val="FFFFFF"/>
                </a:solidFill>
              </a:rPr>
              <a:t>As part of the registration process, a new </a:t>
            </a:r>
            <a:r>
              <a:rPr lang="en-US" sz="1499" b="1" spc="-30" dirty="0">
                <a:solidFill>
                  <a:srgbClr val="FFFFFF"/>
                </a:solidFill>
              </a:rPr>
              <a:t>device object </a:t>
            </a:r>
            <a:r>
              <a:rPr lang="en-US" sz="1499" spc="-30" dirty="0">
                <a:solidFill>
                  <a:srgbClr val="FFFFFF"/>
                </a:solidFill>
              </a:rPr>
              <a:t>is created in Active Directory, establishing a link between the user and their device</a:t>
            </a:r>
            <a:endParaRPr lang="en-US" sz="1499" b="1" spc="-30" dirty="0">
              <a:solidFill>
                <a:srgbClr val="FFFFFF"/>
              </a:solidFill>
            </a:endParaRPr>
          </a:p>
        </p:txBody>
      </p:sp>
      <p:sp>
        <p:nvSpPr>
          <p:cNvPr id="10" name="Rectangle 9"/>
          <p:cNvSpPr/>
          <p:nvPr>
            <p:custDataLst>
              <p:tags r:id="rId2"/>
            </p:custDataLst>
          </p:nvPr>
        </p:nvSpPr>
        <p:spPr bwMode="auto">
          <a:xfrm>
            <a:off x="9472541" y="2486226"/>
            <a:ext cx="2682549" cy="1038105"/>
          </a:xfrm>
          <a:prstGeom prst="rect">
            <a:avLst/>
          </a:prstGeom>
          <a:ln>
            <a:noFill/>
          </a:ln>
        </p:spPr>
        <p:txBody>
          <a:bodyPr vert="horz" wrap="square" lIns="0" tIns="0" rIns="0" bIns="0" rtlCol="0">
            <a:spAutoFit/>
          </a:bodyPr>
          <a:lstStyle/>
          <a:p>
            <a:pPr defTabSz="932563">
              <a:lnSpc>
                <a:spcPct val="90000"/>
              </a:lnSpc>
              <a:spcBef>
                <a:spcPts val="1224"/>
              </a:spcBef>
            </a:pPr>
            <a:r>
              <a:rPr lang="en-US" sz="1499" spc="-31" dirty="0">
                <a:solidFill>
                  <a:srgbClr val="FFFFFF"/>
                </a:solidFill>
              </a:rPr>
              <a:t>Data from </a:t>
            </a:r>
            <a:r>
              <a:rPr lang="en-US" sz="1499" b="1" spc="-31" dirty="0">
                <a:solidFill>
                  <a:srgbClr val="FFFFFF"/>
                </a:solidFill>
              </a:rPr>
              <a:t>Windows </a:t>
            </a:r>
            <a:r>
              <a:rPr lang="en-US" sz="1499" b="1" spc="-31" dirty="0" err="1">
                <a:solidFill>
                  <a:srgbClr val="FFFFFF"/>
                </a:solidFill>
              </a:rPr>
              <a:t>Intune</a:t>
            </a:r>
            <a:r>
              <a:rPr lang="en-US" sz="1499" b="1" spc="-31" dirty="0">
                <a:solidFill>
                  <a:srgbClr val="FFFFFF"/>
                </a:solidFill>
              </a:rPr>
              <a:t> </a:t>
            </a:r>
            <a:r>
              <a:rPr lang="en-US" sz="1499" spc="-31" dirty="0">
                <a:solidFill>
                  <a:srgbClr val="FFFFFF"/>
                </a:solidFill>
              </a:rPr>
              <a:t>is sync with </a:t>
            </a:r>
            <a:r>
              <a:rPr lang="en-US" sz="1499" b="1" spc="-31" dirty="0">
                <a:solidFill>
                  <a:srgbClr val="FFFFFF"/>
                </a:solidFill>
              </a:rPr>
              <a:t>Configuration Manager </a:t>
            </a:r>
            <a:r>
              <a:rPr lang="en-US" sz="1499" spc="-31" dirty="0">
                <a:solidFill>
                  <a:srgbClr val="FFFFFF"/>
                </a:solidFill>
              </a:rPr>
              <a:t>which provides </a:t>
            </a:r>
            <a:r>
              <a:rPr lang="en-US" sz="1499" b="1" spc="-31" dirty="0">
                <a:solidFill>
                  <a:srgbClr val="FFFFFF"/>
                </a:solidFill>
              </a:rPr>
              <a:t>unified management </a:t>
            </a:r>
            <a:r>
              <a:rPr lang="en-US" sz="1499" spc="-31" dirty="0">
                <a:solidFill>
                  <a:srgbClr val="FFFFFF"/>
                </a:solidFill>
              </a:rPr>
              <a:t>across both on-premises and in the cloud</a:t>
            </a:r>
          </a:p>
        </p:txBody>
      </p:sp>
      <p:pic>
        <p:nvPicPr>
          <p:cNvPr id="11" name="Picture 3"/>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tretch>
            <a:fillRect/>
          </a:stretch>
        </p:blipFill>
        <p:spPr bwMode="auto">
          <a:xfrm>
            <a:off x="1150036" y="1942227"/>
            <a:ext cx="734539" cy="1110352"/>
          </a:xfrm>
          <a:prstGeom prst="rect">
            <a:avLst/>
          </a:prstGeom>
          <a:blipFill dpi="0" rotWithShape="1">
            <a:blip r:embed="rId7">
              <a:alphaModFix amt="95000"/>
              <a:biLevel thresh="25000"/>
            </a:blip>
            <a:srcRect/>
            <a:stretch>
              <a:fillRect/>
            </a:stretch>
          </a:blipFill>
          <a:ln w="55000" cap="flat" cmpd="thickThin" algn="ctr">
            <a:noFill/>
            <a:prstDash val="solid"/>
            <a:headEnd type="none" w="med" len="med"/>
            <a:tailEnd type="none" w="med" len="med"/>
          </a:ln>
          <a:effectLst/>
        </p:spPr>
      </p:pic>
      <p:grpSp>
        <p:nvGrpSpPr>
          <p:cNvPr id="12" name="Group 11"/>
          <p:cNvGrpSpPr/>
          <p:nvPr/>
        </p:nvGrpSpPr>
        <p:grpSpPr>
          <a:xfrm>
            <a:off x="4965938" y="3379230"/>
            <a:ext cx="1853727" cy="997815"/>
            <a:chOff x="5458588" y="1704549"/>
            <a:chExt cx="2242174" cy="1149298"/>
          </a:xfrm>
        </p:grpSpPr>
        <p:sp>
          <p:nvSpPr>
            <p:cNvPr id="13" name="Freeform 12"/>
            <p:cNvSpPr>
              <a:spLocks noChangeAspect="1"/>
            </p:cNvSpPr>
            <p:nvPr/>
          </p:nvSpPr>
          <p:spPr bwMode="auto">
            <a:xfrm>
              <a:off x="5458588" y="1704549"/>
              <a:ext cx="2242174" cy="1149298"/>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chemeClr val="tx1"/>
              </a:solidFill>
              <a:prstDash val="solid"/>
              <a:headEnd type="none" w="med" len="med"/>
              <a:tailEnd type="none" w="med" len="med"/>
            </a:ln>
            <a:effectLst/>
            <a:extLst/>
          </p:spPr>
          <p:txBody>
            <a:bodyPr vert="horz" wrap="square" lIns="114247" tIns="0" rIns="114247" bIns="57123"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179" fontAlgn="base">
                <a:spcBef>
                  <a:spcPct val="0"/>
                </a:spcBef>
                <a:spcAft>
                  <a:spcPct val="0"/>
                </a:spcAft>
                <a:defRPr/>
              </a:pPr>
              <a:endParaRPr lang="en-US" sz="1938" b="1" kern="0" dirty="0">
                <a:solidFill>
                  <a:srgbClr val="FFFFFF"/>
                </a:solidFill>
                <a:latin typeface="Segoe" pitchFamily="34" charset="0"/>
              </a:endParaRPr>
            </a:p>
          </p:txBody>
        </p:sp>
        <p:sp>
          <p:nvSpPr>
            <p:cNvPr id="14" name="Rectangle 13"/>
            <p:cNvSpPr/>
            <p:nvPr/>
          </p:nvSpPr>
          <p:spPr>
            <a:xfrm>
              <a:off x="5771550" y="2499781"/>
              <a:ext cx="1625513" cy="198707"/>
            </a:xfrm>
            <a:prstGeom prst="rect">
              <a:avLst/>
            </a:prstGeom>
            <a:ln>
              <a:noFill/>
            </a:ln>
          </p:spPr>
          <p:txBody>
            <a:bodyPr wrap="none" lIns="0" tIns="0" rIns="0" bIns="0" anchor="ctr">
              <a:spAutoFit/>
            </a:bodyPr>
            <a:lstStyle/>
            <a:p>
              <a:pPr algn="ctr" defTabSz="1118323" fontAlgn="base">
                <a:spcAft>
                  <a:spcPct val="0"/>
                </a:spcAft>
              </a:pPr>
              <a:r>
                <a:rPr lang="en-US" sz="1099" dirty="0">
                  <a:ln>
                    <a:solidFill>
                      <a:srgbClr val="FFFFFF">
                        <a:alpha val="0"/>
                      </a:srgbClr>
                    </a:solidFill>
                  </a:ln>
                  <a:solidFill>
                    <a:srgbClr val="FFFFFF"/>
                  </a:solidFill>
                  <a:latin typeface="Segoe"/>
                </a:rPr>
                <a:t>Active Authentication</a:t>
              </a:r>
            </a:p>
          </p:txBody>
        </p:sp>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18843" y="2178686"/>
              <a:ext cx="1745607" cy="420449"/>
            </a:xfrm>
            <a:prstGeom prst="rect">
              <a:avLst/>
            </a:prstGeom>
          </p:spPr>
        </p:pic>
      </p:grpSp>
      <p:grpSp>
        <p:nvGrpSpPr>
          <p:cNvPr id="16" name="Group 15"/>
          <p:cNvGrpSpPr/>
          <p:nvPr/>
        </p:nvGrpSpPr>
        <p:grpSpPr>
          <a:xfrm>
            <a:off x="5202519" y="1064496"/>
            <a:ext cx="1855581" cy="951137"/>
            <a:chOff x="3945351" y="671280"/>
            <a:chExt cx="1855844" cy="951272"/>
          </a:xfrm>
        </p:grpSpPr>
        <p:sp>
          <p:nvSpPr>
            <p:cNvPr id="17" name="Freeform 16"/>
            <p:cNvSpPr>
              <a:spLocks/>
            </p:cNvSpPr>
            <p:nvPr/>
          </p:nvSpPr>
          <p:spPr bwMode="auto">
            <a:xfrm>
              <a:off x="3945351" y="671280"/>
              <a:ext cx="1855844" cy="95127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rgbClr val="FFFFFF"/>
              </a:solidFill>
              <a:prstDash val="solid"/>
              <a:headEnd type="none" w="med" len="med"/>
              <a:tailEnd type="none" w="med" len="med"/>
            </a:ln>
            <a:effectLst/>
            <a:extLst/>
          </p:spPr>
          <p:txBody>
            <a:bodyPr vert="horz" wrap="square" lIns="114247" tIns="0" rIns="114247" bIns="57123"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179" fontAlgn="base">
                <a:spcBef>
                  <a:spcPct val="0"/>
                </a:spcBef>
                <a:spcAft>
                  <a:spcPct val="0"/>
                </a:spcAft>
                <a:defRPr/>
              </a:pPr>
              <a:endParaRPr lang="en-US" sz="1938" b="1" kern="0" dirty="0">
                <a:solidFill>
                  <a:srgbClr val="FFFFFF"/>
                </a:solidFill>
                <a:latin typeface="Segoe" pitchFamily="34" charset="0"/>
              </a:endParaRPr>
            </a:p>
          </p:txBody>
        </p:sp>
        <p:sp>
          <p:nvSpPr>
            <p:cNvPr id="18" name="Freeform 10"/>
            <p:cNvSpPr>
              <a:spLocks noChangeAspect="1" noEditPoints="1"/>
            </p:cNvSpPr>
            <p:nvPr/>
          </p:nvSpPr>
          <p:spPr bwMode="auto">
            <a:xfrm>
              <a:off x="4170735" y="1232118"/>
              <a:ext cx="1484461" cy="153633"/>
            </a:xfrm>
            <a:custGeom>
              <a:avLst/>
              <a:gdLst>
                <a:gd name="T0" fmla="*/ 215 w 954"/>
                <a:gd name="T1" fmla="*/ 82 h 96"/>
                <a:gd name="T2" fmla="*/ 165 w 954"/>
                <a:gd name="T3" fmla="*/ 73 h 96"/>
                <a:gd name="T4" fmla="*/ 131 w 954"/>
                <a:gd name="T5" fmla="*/ 5 h 96"/>
                <a:gd name="T6" fmla="*/ 189 w 954"/>
                <a:gd name="T7" fmla="*/ 20 h 96"/>
                <a:gd name="T8" fmla="*/ 266 w 954"/>
                <a:gd name="T9" fmla="*/ 7 h 96"/>
                <a:gd name="T10" fmla="*/ 254 w 954"/>
                <a:gd name="T11" fmla="*/ 12 h 96"/>
                <a:gd name="T12" fmla="*/ 264 w 954"/>
                <a:gd name="T13" fmla="*/ 94 h 96"/>
                <a:gd name="T14" fmla="*/ 332 w 954"/>
                <a:gd name="T15" fmla="*/ 94 h 96"/>
                <a:gd name="T16" fmla="*/ 289 w 954"/>
                <a:gd name="T17" fmla="*/ 41 h 96"/>
                <a:gd name="T18" fmla="*/ 289 w 954"/>
                <a:gd name="T19" fmla="*/ 94 h 96"/>
                <a:gd name="T20" fmla="*/ 322 w 954"/>
                <a:gd name="T21" fmla="*/ 94 h 96"/>
                <a:gd name="T22" fmla="*/ 390 w 954"/>
                <a:gd name="T23" fmla="*/ 0 h 96"/>
                <a:gd name="T24" fmla="*/ 341 w 954"/>
                <a:gd name="T25" fmla="*/ 63 h 96"/>
                <a:gd name="T26" fmla="*/ 390 w 954"/>
                <a:gd name="T27" fmla="*/ 94 h 96"/>
                <a:gd name="T28" fmla="*/ 357 w 954"/>
                <a:gd name="T29" fmla="*/ 81 h 96"/>
                <a:gd name="T30" fmla="*/ 390 w 954"/>
                <a:gd name="T31" fmla="*/ 56 h 96"/>
                <a:gd name="T32" fmla="*/ 420 w 954"/>
                <a:gd name="T33" fmla="*/ 37 h 96"/>
                <a:gd name="T34" fmla="*/ 474 w 954"/>
                <a:gd name="T35" fmla="*/ 62 h 96"/>
                <a:gd name="T36" fmla="*/ 421 w 954"/>
                <a:gd name="T37" fmla="*/ 63 h 96"/>
                <a:gd name="T38" fmla="*/ 565 w 954"/>
                <a:gd name="T39" fmla="*/ 30 h 96"/>
                <a:gd name="T40" fmla="*/ 540 w 954"/>
                <a:gd name="T41" fmla="*/ 84 h 96"/>
                <a:gd name="T42" fmla="*/ 500 w 954"/>
                <a:gd name="T43" fmla="*/ 84 h 96"/>
                <a:gd name="T44" fmla="*/ 495 w 954"/>
                <a:gd name="T45" fmla="*/ 94 h 96"/>
                <a:gd name="T46" fmla="*/ 522 w 954"/>
                <a:gd name="T47" fmla="*/ 49 h 96"/>
                <a:gd name="T48" fmla="*/ 602 w 954"/>
                <a:gd name="T49" fmla="*/ 65 h 96"/>
                <a:gd name="T50" fmla="*/ 589 w 954"/>
                <a:gd name="T51" fmla="*/ 37 h 96"/>
                <a:gd name="T52" fmla="*/ 567 w 954"/>
                <a:gd name="T53" fmla="*/ 47 h 96"/>
                <a:gd name="T54" fmla="*/ 584 w 954"/>
                <a:gd name="T55" fmla="*/ 87 h 96"/>
                <a:gd name="T56" fmla="*/ 606 w 954"/>
                <a:gd name="T57" fmla="*/ 77 h 96"/>
                <a:gd name="T58" fmla="*/ 636 w 954"/>
                <a:gd name="T59" fmla="*/ 5 h 96"/>
                <a:gd name="T60" fmla="*/ 695 w 954"/>
                <a:gd name="T61" fmla="*/ 29 h 96"/>
                <a:gd name="T62" fmla="*/ 664 w 954"/>
                <a:gd name="T63" fmla="*/ 94 h 96"/>
                <a:gd name="T64" fmla="*/ 706 w 954"/>
                <a:gd name="T65" fmla="*/ 58 h 96"/>
                <a:gd name="T66" fmla="*/ 760 w 954"/>
                <a:gd name="T67" fmla="*/ 85 h 96"/>
                <a:gd name="T68" fmla="*/ 760 w 954"/>
                <a:gd name="T69" fmla="*/ 39 h 96"/>
                <a:gd name="T70" fmla="*/ 734 w 954"/>
                <a:gd name="T71" fmla="*/ 30 h 96"/>
                <a:gd name="T72" fmla="*/ 751 w 954"/>
                <a:gd name="T73" fmla="*/ 95 h 96"/>
                <a:gd name="T74" fmla="*/ 810 w 954"/>
                <a:gd name="T75" fmla="*/ 30 h 96"/>
                <a:gd name="T76" fmla="*/ 778 w 954"/>
                <a:gd name="T77" fmla="*/ 30 h 96"/>
                <a:gd name="T78" fmla="*/ 810 w 954"/>
                <a:gd name="T79" fmla="*/ 84 h 96"/>
                <a:gd name="T80" fmla="*/ 889 w 954"/>
                <a:gd name="T81" fmla="*/ 55 h 96"/>
                <a:gd name="T82" fmla="*/ 846 w 954"/>
                <a:gd name="T83" fmla="*/ 30 h 96"/>
                <a:gd name="T84" fmla="*/ 851 w 954"/>
                <a:gd name="T85" fmla="*/ 43 h 96"/>
                <a:gd name="T86" fmla="*/ 954 w 954"/>
                <a:gd name="T87" fmla="*/ 65 h 96"/>
                <a:gd name="T88" fmla="*/ 907 w 954"/>
                <a:gd name="T89" fmla="*/ 37 h 96"/>
                <a:gd name="T90" fmla="*/ 949 w 954"/>
                <a:gd name="T91" fmla="*/ 80 h 96"/>
                <a:gd name="T92" fmla="*/ 943 w 954"/>
                <a:gd name="T93" fmla="*/ 56 h 96"/>
                <a:gd name="T94" fmla="*/ 939 w 954"/>
                <a:gd name="T95" fmla="*/ 42 h 96"/>
                <a:gd name="T96" fmla="*/ 95 w 954"/>
                <a:gd name="T97" fmla="*/ 46 h 96"/>
                <a:gd name="T98" fmla="*/ 0 w 954"/>
                <a:gd name="T99" fmla="*/ 46 h 96"/>
                <a:gd name="T100" fmla="*/ 0 w 954"/>
                <a:gd name="T101" fmla="*/ 82 h 96"/>
                <a:gd name="T102" fmla="*/ 43 w 954"/>
                <a:gd name="T103" fmla="*/ 88 h 96"/>
                <a:gd name="T104" fmla="*/ 43 w 954"/>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6">
                  <a:moveTo>
                    <a:pt x="246" y="5"/>
                  </a:moveTo>
                  <a:cubicBezTo>
                    <a:pt x="246" y="5"/>
                    <a:pt x="246" y="5"/>
                    <a:pt x="246" y="5"/>
                  </a:cubicBezTo>
                  <a:cubicBezTo>
                    <a:pt x="235" y="5"/>
                    <a:pt x="235" y="5"/>
                    <a:pt x="235" y="5"/>
                  </a:cubicBezTo>
                  <a:cubicBezTo>
                    <a:pt x="235" y="5"/>
                    <a:pt x="235" y="5"/>
                    <a:pt x="217" y="73"/>
                  </a:cubicBezTo>
                  <a:cubicBezTo>
                    <a:pt x="216" y="77"/>
                    <a:pt x="215" y="80"/>
                    <a:pt x="215" y="82"/>
                  </a:cubicBezTo>
                  <a:cubicBezTo>
                    <a:pt x="215" y="82"/>
                    <a:pt x="215" y="82"/>
                    <a:pt x="215" y="82"/>
                  </a:cubicBezTo>
                  <a:cubicBezTo>
                    <a:pt x="215" y="79"/>
                    <a:pt x="214" y="76"/>
                    <a:pt x="214" y="74"/>
                  </a:cubicBezTo>
                  <a:cubicBezTo>
                    <a:pt x="214" y="74"/>
                    <a:pt x="214" y="74"/>
                    <a:pt x="195" y="5"/>
                  </a:cubicBezTo>
                  <a:cubicBezTo>
                    <a:pt x="195" y="5"/>
                    <a:pt x="195" y="5"/>
                    <a:pt x="185" y="5"/>
                  </a:cubicBezTo>
                  <a:cubicBezTo>
                    <a:pt x="185" y="5"/>
                    <a:pt x="185" y="5"/>
                    <a:pt x="165" y="73"/>
                  </a:cubicBezTo>
                  <a:cubicBezTo>
                    <a:pt x="164" y="77"/>
                    <a:pt x="163" y="80"/>
                    <a:pt x="163" y="82"/>
                  </a:cubicBezTo>
                  <a:cubicBezTo>
                    <a:pt x="163" y="82"/>
                    <a:pt x="163" y="82"/>
                    <a:pt x="163" y="82"/>
                  </a:cubicBezTo>
                  <a:cubicBezTo>
                    <a:pt x="162" y="79"/>
                    <a:pt x="162" y="76"/>
                    <a:pt x="161" y="73"/>
                  </a:cubicBezTo>
                  <a:cubicBezTo>
                    <a:pt x="161" y="73"/>
                    <a:pt x="161" y="73"/>
                    <a:pt x="142" y="5"/>
                  </a:cubicBezTo>
                  <a:cubicBezTo>
                    <a:pt x="142" y="5"/>
                    <a:pt x="142" y="5"/>
                    <a:pt x="131" y="5"/>
                  </a:cubicBezTo>
                  <a:cubicBezTo>
                    <a:pt x="131" y="5"/>
                    <a:pt x="131" y="5"/>
                    <a:pt x="157" y="94"/>
                  </a:cubicBezTo>
                  <a:cubicBezTo>
                    <a:pt x="157" y="94"/>
                    <a:pt x="157" y="94"/>
                    <a:pt x="169" y="94"/>
                  </a:cubicBezTo>
                  <a:cubicBezTo>
                    <a:pt x="169" y="94"/>
                    <a:pt x="169" y="94"/>
                    <a:pt x="188" y="29"/>
                  </a:cubicBezTo>
                  <a:cubicBezTo>
                    <a:pt x="188" y="26"/>
                    <a:pt x="189" y="23"/>
                    <a:pt x="189" y="20"/>
                  </a:cubicBezTo>
                  <a:cubicBezTo>
                    <a:pt x="189" y="20"/>
                    <a:pt x="189" y="20"/>
                    <a:pt x="189" y="20"/>
                  </a:cubicBezTo>
                  <a:cubicBezTo>
                    <a:pt x="189" y="23"/>
                    <a:pt x="190" y="26"/>
                    <a:pt x="191" y="29"/>
                  </a:cubicBezTo>
                  <a:cubicBezTo>
                    <a:pt x="191" y="29"/>
                    <a:pt x="191" y="29"/>
                    <a:pt x="209" y="94"/>
                  </a:cubicBezTo>
                  <a:cubicBezTo>
                    <a:pt x="209" y="94"/>
                    <a:pt x="209" y="94"/>
                    <a:pt x="221" y="94"/>
                  </a:cubicBezTo>
                  <a:cubicBezTo>
                    <a:pt x="221" y="94"/>
                    <a:pt x="221" y="94"/>
                    <a:pt x="246" y="5"/>
                  </a:cubicBezTo>
                  <a:close/>
                  <a:moveTo>
                    <a:pt x="266" y="7"/>
                  </a:moveTo>
                  <a:cubicBezTo>
                    <a:pt x="266" y="6"/>
                    <a:pt x="265" y="4"/>
                    <a:pt x="263" y="3"/>
                  </a:cubicBezTo>
                  <a:cubicBezTo>
                    <a:pt x="262" y="2"/>
                    <a:pt x="261" y="1"/>
                    <a:pt x="258" y="1"/>
                  </a:cubicBezTo>
                  <a:cubicBezTo>
                    <a:pt x="257" y="1"/>
                    <a:pt x="255" y="2"/>
                    <a:pt x="254" y="3"/>
                  </a:cubicBezTo>
                  <a:cubicBezTo>
                    <a:pt x="253" y="4"/>
                    <a:pt x="252" y="6"/>
                    <a:pt x="252" y="7"/>
                  </a:cubicBezTo>
                  <a:cubicBezTo>
                    <a:pt x="252" y="10"/>
                    <a:pt x="253" y="11"/>
                    <a:pt x="254" y="12"/>
                  </a:cubicBezTo>
                  <a:cubicBezTo>
                    <a:pt x="255" y="14"/>
                    <a:pt x="257" y="14"/>
                    <a:pt x="258" y="14"/>
                  </a:cubicBezTo>
                  <a:cubicBezTo>
                    <a:pt x="261" y="14"/>
                    <a:pt x="262" y="14"/>
                    <a:pt x="263" y="12"/>
                  </a:cubicBezTo>
                  <a:cubicBezTo>
                    <a:pt x="265" y="11"/>
                    <a:pt x="266" y="9"/>
                    <a:pt x="266" y="7"/>
                  </a:cubicBezTo>
                  <a:close/>
                  <a:moveTo>
                    <a:pt x="264" y="94"/>
                  </a:moveTo>
                  <a:cubicBezTo>
                    <a:pt x="264" y="94"/>
                    <a:pt x="264" y="94"/>
                    <a:pt x="264" y="94"/>
                  </a:cubicBezTo>
                  <a:cubicBezTo>
                    <a:pt x="264" y="30"/>
                    <a:pt x="264" y="30"/>
                    <a:pt x="264" y="30"/>
                  </a:cubicBezTo>
                  <a:cubicBezTo>
                    <a:pt x="264" y="30"/>
                    <a:pt x="264" y="30"/>
                    <a:pt x="253" y="30"/>
                  </a:cubicBezTo>
                  <a:cubicBezTo>
                    <a:pt x="253" y="30"/>
                    <a:pt x="253" y="30"/>
                    <a:pt x="253" y="94"/>
                  </a:cubicBezTo>
                  <a:cubicBezTo>
                    <a:pt x="253" y="94"/>
                    <a:pt x="253" y="94"/>
                    <a:pt x="264" y="94"/>
                  </a:cubicBezTo>
                  <a:close/>
                  <a:moveTo>
                    <a:pt x="332" y="94"/>
                  </a:moveTo>
                  <a:cubicBezTo>
                    <a:pt x="332" y="94"/>
                    <a:pt x="332" y="94"/>
                    <a:pt x="332" y="94"/>
                  </a:cubicBezTo>
                  <a:cubicBezTo>
                    <a:pt x="332" y="55"/>
                    <a:pt x="332" y="55"/>
                    <a:pt x="332" y="55"/>
                  </a:cubicBezTo>
                  <a:cubicBezTo>
                    <a:pt x="332" y="47"/>
                    <a:pt x="330" y="40"/>
                    <a:pt x="327" y="36"/>
                  </a:cubicBezTo>
                  <a:cubicBezTo>
                    <a:pt x="323" y="31"/>
                    <a:pt x="318" y="29"/>
                    <a:pt x="311" y="29"/>
                  </a:cubicBezTo>
                  <a:cubicBezTo>
                    <a:pt x="301" y="29"/>
                    <a:pt x="294" y="33"/>
                    <a:pt x="289" y="41"/>
                  </a:cubicBezTo>
                  <a:cubicBezTo>
                    <a:pt x="289" y="41"/>
                    <a:pt x="289" y="41"/>
                    <a:pt x="289" y="41"/>
                  </a:cubicBezTo>
                  <a:cubicBezTo>
                    <a:pt x="289" y="41"/>
                    <a:pt x="289" y="41"/>
                    <a:pt x="289" y="30"/>
                  </a:cubicBezTo>
                  <a:cubicBezTo>
                    <a:pt x="289" y="30"/>
                    <a:pt x="289" y="30"/>
                    <a:pt x="279" y="30"/>
                  </a:cubicBezTo>
                  <a:cubicBezTo>
                    <a:pt x="279" y="30"/>
                    <a:pt x="279" y="30"/>
                    <a:pt x="279" y="94"/>
                  </a:cubicBezTo>
                  <a:cubicBezTo>
                    <a:pt x="279" y="94"/>
                    <a:pt x="279" y="94"/>
                    <a:pt x="289" y="94"/>
                  </a:cubicBezTo>
                  <a:cubicBezTo>
                    <a:pt x="289" y="94"/>
                    <a:pt x="289" y="94"/>
                    <a:pt x="289" y="58"/>
                  </a:cubicBezTo>
                  <a:cubicBezTo>
                    <a:pt x="289" y="52"/>
                    <a:pt x="291" y="47"/>
                    <a:pt x="294" y="43"/>
                  </a:cubicBezTo>
                  <a:cubicBezTo>
                    <a:pt x="298" y="39"/>
                    <a:pt x="302" y="37"/>
                    <a:pt x="307" y="37"/>
                  </a:cubicBezTo>
                  <a:cubicBezTo>
                    <a:pt x="317" y="37"/>
                    <a:pt x="322" y="44"/>
                    <a:pt x="322" y="58"/>
                  </a:cubicBezTo>
                  <a:cubicBezTo>
                    <a:pt x="322" y="58"/>
                    <a:pt x="322" y="58"/>
                    <a:pt x="322" y="94"/>
                  </a:cubicBezTo>
                  <a:cubicBezTo>
                    <a:pt x="322" y="94"/>
                    <a:pt x="322" y="94"/>
                    <a:pt x="332" y="94"/>
                  </a:cubicBezTo>
                  <a:close/>
                  <a:moveTo>
                    <a:pt x="400" y="94"/>
                  </a:moveTo>
                  <a:cubicBezTo>
                    <a:pt x="400" y="94"/>
                    <a:pt x="400" y="94"/>
                    <a:pt x="400" y="94"/>
                  </a:cubicBezTo>
                  <a:cubicBezTo>
                    <a:pt x="400" y="0"/>
                    <a:pt x="400" y="0"/>
                    <a:pt x="400" y="0"/>
                  </a:cubicBezTo>
                  <a:cubicBezTo>
                    <a:pt x="400" y="0"/>
                    <a:pt x="400" y="0"/>
                    <a:pt x="390" y="0"/>
                  </a:cubicBezTo>
                  <a:cubicBezTo>
                    <a:pt x="390" y="0"/>
                    <a:pt x="390" y="0"/>
                    <a:pt x="390" y="39"/>
                  </a:cubicBezTo>
                  <a:cubicBezTo>
                    <a:pt x="390" y="39"/>
                    <a:pt x="390" y="39"/>
                    <a:pt x="389" y="39"/>
                  </a:cubicBezTo>
                  <a:cubicBezTo>
                    <a:pt x="385" y="32"/>
                    <a:pt x="379" y="29"/>
                    <a:pt x="370" y="29"/>
                  </a:cubicBezTo>
                  <a:cubicBezTo>
                    <a:pt x="361" y="29"/>
                    <a:pt x="354" y="32"/>
                    <a:pt x="349" y="38"/>
                  </a:cubicBezTo>
                  <a:cubicBezTo>
                    <a:pt x="344" y="44"/>
                    <a:pt x="341" y="53"/>
                    <a:pt x="341" y="63"/>
                  </a:cubicBezTo>
                  <a:cubicBezTo>
                    <a:pt x="341" y="74"/>
                    <a:pt x="344" y="82"/>
                    <a:pt x="349" y="87"/>
                  </a:cubicBezTo>
                  <a:cubicBezTo>
                    <a:pt x="353" y="93"/>
                    <a:pt x="360" y="95"/>
                    <a:pt x="368" y="95"/>
                  </a:cubicBezTo>
                  <a:cubicBezTo>
                    <a:pt x="377" y="95"/>
                    <a:pt x="385" y="91"/>
                    <a:pt x="389" y="83"/>
                  </a:cubicBezTo>
                  <a:cubicBezTo>
                    <a:pt x="389" y="83"/>
                    <a:pt x="389" y="83"/>
                    <a:pt x="390" y="83"/>
                  </a:cubicBezTo>
                  <a:cubicBezTo>
                    <a:pt x="390" y="83"/>
                    <a:pt x="390" y="83"/>
                    <a:pt x="390" y="94"/>
                  </a:cubicBezTo>
                  <a:cubicBezTo>
                    <a:pt x="390" y="94"/>
                    <a:pt x="390" y="94"/>
                    <a:pt x="400" y="94"/>
                  </a:cubicBezTo>
                  <a:close/>
                  <a:moveTo>
                    <a:pt x="390" y="65"/>
                  </a:moveTo>
                  <a:cubicBezTo>
                    <a:pt x="390" y="71"/>
                    <a:pt x="388" y="76"/>
                    <a:pt x="385" y="80"/>
                  </a:cubicBezTo>
                  <a:cubicBezTo>
                    <a:pt x="381" y="85"/>
                    <a:pt x="377" y="87"/>
                    <a:pt x="371" y="87"/>
                  </a:cubicBezTo>
                  <a:cubicBezTo>
                    <a:pt x="365" y="87"/>
                    <a:pt x="361" y="85"/>
                    <a:pt x="357" y="81"/>
                  </a:cubicBezTo>
                  <a:cubicBezTo>
                    <a:pt x="353" y="77"/>
                    <a:pt x="352" y="70"/>
                    <a:pt x="352" y="63"/>
                  </a:cubicBezTo>
                  <a:cubicBezTo>
                    <a:pt x="352" y="55"/>
                    <a:pt x="353" y="49"/>
                    <a:pt x="357" y="44"/>
                  </a:cubicBezTo>
                  <a:cubicBezTo>
                    <a:pt x="361" y="40"/>
                    <a:pt x="365" y="37"/>
                    <a:pt x="372" y="37"/>
                  </a:cubicBezTo>
                  <a:cubicBezTo>
                    <a:pt x="377" y="37"/>
                    <a:pt x="381" y="39"/>
                    <a:pt x="385" y="43"/>
                  </a:cubicBezTo>
                  <a:cubicBezTo>
                    <a:pt x="388" y="46"/>
                    <a:pt x="390" y="51"/>
                    <a:pt x="390" y="56"/>
                  </a:cubicBezTo>
                  <a:cubicBezTo>
                    <a:pt x="390" y="56"/>
                    <a:pt x="390" y="56"/>
                    <a:pt x="390" y="65"/>
                  </a:cubicBezTo>
                  <a:close/>
                  <a:moveTo>
                    <a:pt x="474" y="62"/>
                  </a:moveTo>
                  <a:cubicBezTo>
                    <a:pt x="474" y="52"/>
                    <a:pt x="471" y="44"/>
                    <a:pt x="466" y="37"/>
                  </a:cubicBezTo>
                  <a:cubicBezTo>
                    <a:pt x="460" y="32"/>
                    <a:pt x="453" y="29"/>
                    <a:pt x="443" y="29"/>
                  </a:cubicBezTo>
                  <a:cubicBezTo>
                    <a:pt x="434" y="29"/>
                    <a:pt x="426" y="32"/>
                    <a:pt x="420" y="37"/>
                  </a:cubicBezTo>
                  <a:cubicBezTo>
                    <a:pt x="414" y="43"/>
                    <a:pt x="411" y="52"/>
                    <a:pt x="411" y="63"/>
                  </a:cubicBezTo>
                  <a:cubicBezTo>
                    <a:pt x="411" y="72"/>
                    <a:pt x="413" y="80"/>
                    <a:pt x="419" y="86"/>
                  </a:cubicBezTo>
                  <a:cubicBezTo>
                    <a:pt x="424" y="92"/>
                    <a:pt x="432" y="95"/>
                    <a:pt x="442" y="95"/>
                  </a:cubicBezTo>
                  <a:cubicBezTo>
                    <a:pt x="452" y="95"/>
                    <a:pt x="459" y="92"/>
                    <a:pt x="465" y="86"/>
                  </a:cubicBezTo>
                  <a:cubicBezTo>
                    <a:pt x="471" y="80"/>
                    <a:pt x="474" y="72"/>
                    <a:pt x="474" y="62"/>
                  </a:cubicBezTo>
                  <a:close/>
                  <a:moveTo>
                    <a:pt x="463" y="62"/>
                  </a:moveTo>
                  <a:cubicBezTo>
                    <a:pt x="463" y="70"/>
                    <a:pt x="461" y="76"/>
                    <a:pt x="458" y="80"/>
                  </a:cubicBezTo>
                  <a:cubicBezTo>
                    <a:pt x="455" y="85"/>
                    <a:pt x="449" y="87"/>
                    <a:pt x="443" y="87"/>
                  </a:cubicBezTo>
                  <a:cubicBezTo>
                    <a:pt x="436" y="87"/>
                    <a:pt x="431" y="85"/>
                    <a:pt x="427" y="80"/>
                  </a:cubicBezTo>
                  <a:cubicBezTo>
                    <a:pt x="423" y="76"/>
                    <a:pt x="421" y="70"/>
                    <a:pt x="421" y="63"/>
                  </a:cubicBezTo>
                  <a:cubicBezTo>
                    <a:pt x="421" y="54"/>
                    <a:pt x="423" y="48"/>
                    <a:pt x="427" y="44"/>
                  </a:cubicBezTo>
                  <a:cubicBezTo>
                    <a:pt x="431" y="40"/>
                    <a:pt x="436" y="37"/>
                    <a:pt x="443" y="37"/>
                  </a:cubicBezTo>
                  <a:cubicBezTo>
                    <a:pt x="449" y="37"/>
                    <a:pt x="454" y="40"/>
                    <a:pt x="458" y="44"/>
                  </a:cubicBezTo>
                  <a:cubicBezTo>
                    <a:pt x="461" y="48"/>
                    <a:pt x="463" y="54"/>
                    <a:pt x="463" y="62"/>
                  </a:cubicBezTo>
                  <a:close/>
                  <a:moveTo>
                    <a:pt x="565" y="30"/>
                  </a:moveTo>
                  <a:cubicBezTo>
                    <a:pt x="565" y="30"/>
                    <a:pt x="565" y="30"/>
                    <a:pt x="565" y="30"/>
                  </a:cubicBezTo>
                  <a:cubicBezTo>
                    <a:pt x="554" y="30"/>
                    <a:pt x="554" y="30"/>
                    <a:pt x="554" y="30"/>
                  </a:cubicBezTo>
                  <a:cubicBezTo>
                    <a:pt x="554" y="30"/>
                    <a:pt x="554" y="30"/>
                    <a:pt x="541" y="78"/>
                  </a:cubicBezTo>
                  <a:cubicBezTo>
                    <a:pt x="541" y="80"/>
                    <a:pt x="540" y="83"/>
                    <a:pt x="540" y="84"/>
                  </a:cubicBezTo>
                  <a:cubicBezTo>
                    <a:pt x="540" y="84"/>
                    <a:pt x="540" y="84"/>
                    <a:pt x="540" y="84"/>
                  </a:cubicBezTo>
                  <a:cubicBezTo>
                    <a:pt x="540" y="82"/>
                    <a:pt x="539" y="80"/>
                    <a:pt x="539" y="78"/>
                  </a:cubicBezTo>
                  <a:cubicBezTo>
                    <a:pt x="539" y="78"/>
                    <a:pt x="539" y="78"/>
                    <a:pt x="526" y="30"/>
                  </a:cubicBezTo>
                  <a:cubicBezTo>
                    <a:pt x="526" y="30"/>
                    <a:pt x="526" y="30"/>
                    <a:pt x="516" y="30"/>
                  </a:cubicBezTo>
                  <a:cubicBezTo>
                    <a:pt x="516" y="30"/>
                    <a:pt x="516" y="30"/>
                    <a:pt x="502" y="78"/>
                  </a:cubicBezTo>
                  <a:cubicBezTo>
                    <a:pt x="501" y="80"/>
                    <a:pt x="501" y="82"/>
                    <a:pt x="500" y="84"/>
                  </a:cubicBezTo>
                  <a:cubicBezTo>
                    <a:pt x="500" y="84"/>
                    <a:pt x="500" y="84"/>
                    <a:pt x="500" y="84"/>
                  </a:cubicBezTo>
                  <a:cubicBezTo>
                    <a:pt x="500" y="82"/>
                    <a:pt x="500" y="80"/>
                    <a:pt x="499" y="78"/>
                  </a:cubicBezTo>
                  <a:cubicBezTo>
                    <a:pt x="499" y="78"/>
                    <a:pt x="499" y="78"/>
                    <a:pt x="486" y="30"/>
                  </a:cubicBezTo>
                  <a:cubicBezTo>
                    <a:pt x="486" y="30"/>
                    <a:pt x="486" y="30"/>
                    <a:pt x="475" y="30"/>
                  </a:cubicBezTo>
                  <a:cubicBezTo>
                    <a:pt x="475" y="30"/>
                    <a:pt x="475" y="30"/>
                    <a:pt x="495" y="94"/>
                  </a:cubicBezTo>
                  <a:cubicBezTo>
                    <a:pt x="495" y="94"/>
                    <a:pt x="495" y="94"/>
                    <a:pt x="505" y="94"/>
                  </a:cubicBezTo>
                  <a:cubicBezTo>
                    <a:pt x="505" y="94"/>
                    <a:pt x="505" y="94"/>
                    <a:pt x="519" y="48"/>
                  </a:cubicBezTo>
                  <a:cubicBezTo>
                    <a:pt x="520" y="46"/>
                    <a:pt x="520" y="44"/>
                    <a:pt x="520" y="43"/>
                  </a:cubicBezTo>
                  <a:cubicBezTo>
                    <a:pt x="520" y="43"/>
                    <a:pt x="520" y="43"/>
                    <a:pt x="521" y="43"/>
                  </a:cubicBezTo>
                  <a:cubicBezTo>
                    <a:pt x="521" y="45"/>
                    <a:pt x="521" y="47"/>
                    <a:pt x="522" y="49"/>
                  </a:cubicBezTo>
                  <a:cubicBezTo>
                    <a:pt x="522" y="49"/>
                    <a:pt x="522" y="49"/>
                    <a:pt x="535" y="94"/>
                  </a:cubicBezTo>
                  <a:cubicBezTo>
                    <a:pt x="535" y="94"/>
                    <a:pt x="535" y="94"/>
                    <a:pt x="545" y="94"/>
                  </a:cubicBezTo>
                  <a:cubicBezTo>
                    <a:pt x="545" y="94"/>
                    <a:pt x="545" y="94"/>
                    <a:pt x="565" y="30"/>
                  </a:cubicBezTo>
                  <a:close/>
                  <a:moveTo>
                    <a:pt x="606" y="77"/>
                  </a:moveTo>
                  <a:cubicBezTo>
                    <a:pt x="606" y="72"/>
                    <a:pt x="605" y="68"/>
                    <a:pt x="602" y="65"/>
                  </a:cubicBezTo>
                  <a:cubicBezTo>
                    <a:pt x="599" y="63"/>
                    <a:pt x="595" y="60"/>
                    <a:pt x="590" y="58"/>
                  </a:cubicBezTo>
                  <a:cubicBezTo>
                    <a:pt x="585" y="56"/>
                    <a:pt x="582" y="54"/>
                    <a:pt x="580" y="53"/>
                  </a:cubicBezTo>
                  <a:cubicBezTo>
                    <a:pt x="579" y="51"/>
                    <a:pt x="578" y="49"/>
                    <a:pt x="578" y="46"/>
                  </a:cubicBezTo>
                  <a:cubicBezTo>
                    <a:pt x="578" y="44"/>
                    <a:pt x="579" y="41"/>
                    <a:pt x="581" y="40"/>
                  </a:cubicBezTo>
                  <a:cubicBezTo>
                    <a:pt x="583" y="38"/>
                    <a:pt x="586" y="37"/>
                    <a:pt x="589" y="37"/>
                  </a:cubicBezTo>
                  <a:cubicBezTo>
                    <a:pt x="594" y="37"/>
                    <a:pt x="599" y="39"/>
                    <a:pt x="603" y="42"/>
                  </a:cubicBezTo>
                  <a:cubicBezTo>
                    <a:pt x="603" y="42"/>
                    <a:pt x="603" y="42"/>
                    <a:pt x="603" y="32"/>
                  </a:cubicBezTo>
                  <a:cubicBezTo>
                    <a:pt x="599" y="30"/>
                    <a:pt x="595" y="29"/>
                    <a:pt x="590" y="29"/>
                  </a:cubicBezTo>
                  <a:cubicBezTo>
                    <a:pt x="583" y="29"/>
                    <a:pt x="578" y="30"/>
                    <a:pt x="574" y="34"/>
                  </a:cubicBezTo>
                  <a:cubicBezTo>
                    <a:pt x="569" y="37"/>
                    <a:pt x="567" y="42"/>
                    <a:pt x="567" y="47"/>
                  </a:cubicBezTo>
                  <a:cubicBezTo>
                    <a:pt x="567" y="52"/>
                    <a:pt x="568" y="56"/>
                    <a:pt x="572" y="59"/>
                  </a:cubicBezTo>
                  <a:cubicBezTo>
                    <a:pt x="574" y="61"/>
                    <a:pt x="577" y="63"/>
                    <a:pt x="583" y="66"/>
                  </a:cubicBezTo>
                  <a:cubicBezTo>
                    <a:pt x="588" y="68"/>
                    <a:pt x="591" y="70"/>
                    <a:pt x="593" y="72"/>
                  </a:cubicBezTo>
                  <a:cubicBezTo>
                    <a:pt x="595" y="73"/>
                    <a:pt x="596" y="75"/>
                    <a:pt x="596" y="78"/>
                  </a:cubicBezTo>
                  <a:cubicBezTo>
                    <a:pt x="596" y="84"/>
                    <a:pt x="592" y="87"/>
                    <a:pt x="584" y="87"/>
                  </a:cubicBezTo>
                  <a:cubicBezTo>
                    <a:pt x="578" y="87"/>
                    <a:pt x="572" y="85"/>
                    <a:pt x="567" y="81"/>
                  </a:cubicBezTo>
                  <a:cubicBezTo>
                    <a:pt x="567" y="81"/>
                    <a:pt x="567" y="81"/>
                    <a:pt x="567" y="92"/>
                  </a:cubicBezTo>
                  <a:cubicBezTo>
                    <a:pt x="572" y="94"/>
                    <a:pt x="577" y="95"/>
                    <a:pt x="583" y="95"/>
                  </a:cubicBezTo>
                  <a:cubicBezTo>
                    <a:pt x="590" y="95"/>
                    <a:pt x="596" y="94"/>
                    <a:pt x="600" y="90"/>
                  </a:cubicBezTo>
                  <a:cubicBezTo>
                    <a:pt x="604" y="86"/>
                    <a:pt x="606" y="82"/>
                    <a:pt x="606" y="77"/>
                  </a:cubicBezTo>
                  <a:close/>
                  <a:moveTo>
                    <a:pt x="636" y="5"/>
                  </a:moveTo>
                  <a:cubicBezTo>
                    <a:pt x="636" y="94"/>
                    <a:pt x="636" y="94"/>
                    <a:pt x="636" y="94"/>
                  </a:cubicBezTo>
                  <a:cubicBezTo>
                    <a:pt x="647" y="94"/>
                    <a:pt x="647" y="94"/>
                    <a:pt x="647" y="94"/>
                  </a:cubicBezTo>
                  <a:cubicBezTo>
                    <a:pt x="647" y="5"/>
                    <a:pt x="647" y="5"/>
                    <a:pt x="647" y="5"/>
                  </a:cubicBezTo>
                  <a:cubicBezTo>
                    <a:pt x="636" y="5"/>
                    <a:pt x="636" y="5"/>
                    <a:pt x="636" y="5"/>
                  </a:cubicBezTo>
                  <a:close/>
                  <a:moveTo>
                    <a:pt x="716" y="94"/>
                  </a:moveTo>
                  <a:cubicBezTo>
                    <a:pt x="716" y="94"/>
                    <a:pt x="716" y="94"/>
                    <a:pt x="716" y="94"/>
                  </a:cubicBezTo>
                  <a:cubicBezTo>
                    <a:pt x="716" y="55"/>
                    <a:pt x="716" y="55"/>
                    <a:pt x="716" y="55"/>
                  </a:cubicBezTo>
                  <a:cubicBezTo>
                    <a:pt x="716" y="47"/>
                    <a:pt x="715" y="40"/>
                    <a:pt x="711" y="36"/>
                  </a:cubicBezTo>
                  <a:cubicBezTo>
                    <a:pt x="708" y="31"/>
                    <a:pt x="702" y="29"/>
                    <a:pt x="695" y="29"/>
                  </a:cubicBezTo>
                  <a:cubicBezTo>
                    <a:pt x="686" y="29"/>
                    <a:pt x="679" y="33"/>
                    <a:pt x="674" y="41"/>
                  </a:cubicBezTo>
                  <a:cubicBezTo>
                    <a:pt x="674" y="41"/>
                    <a:pt x="674" y="41"/>
                    <a:pt x="674" y="41"/>
                  </a:cubicBezTo>
                  <a:cubicBezTo>
                    <a:pt x="674" y="41"/>
                    <a:pt x="674" y="41"/>
                    <a:pt x="674" y="30"/>
                  </a:cubicBezTo>
                  <a:cubicBezTo>
                    <a:pt x="674" y="30"/>
                    <a:pt x="674" y="30"/>
                    <a:pt x="664" y="30"/>
                  </a:cubicBezTo>
                  <a:cubicBezTo>
                    <a:pt x="664" y="30"/>
                    <a:pt x="664" y="30"/>
                    <a:pt x="664" y="94"/>
                  </a:cubicBezTo>
                  <a:cubicBezTo>
                    <a:pt x="664" y="94"/>
                    <a:pt x="664" y="94"/>
                    <a:pt x="674" y="94"/>
                  </a:cubicBezTo>
                  <a:cubicBezTo>
                    <a:pt x="674" y="94"/>
                    <a:pt x="674" y="94"/>
                    <a:pt x="674" y="58"/>
                  </a:cubicBezTo>
                  <a:cubicBezTo>
                    <a:pt x="674" y="52"/>
                    <a:pt x="676" y="47"/>
                    <a:pt x="679" y="43"/>
                  </a:cubicBezTo>
                  <a:cubicBezTo>
                    <a:pt x="682" y="39"/>
                    <a:pt x="686" y="37"/>
                    <a:pt x="692" y="37"/>
                  </a:cubicBezTo>
                  <a:cubicBezTo>
                    <a:pt x="701" y="37"/>
                    <a:pt x="706" y="44"/>
                    <a:pt x="706" y="58"/>
                  </a:cubicBezTo>
                  <a:cubicBezTo>
                    <a:pt x="706" y="58"/>
                    <a:pt x="706" y="58"/>
                    <a:pt x="706" y="94"/>
                  </a:cubicBezTo>
                  <a:cubicBezTo>
                    <a:pt x="706" y="94"/>
                    <a:pt x="706" y="94"/>
                    <a:pt x="716" y="94"/>
                  </a:cubicBezTo>
                  <a:close/>
                  <a:moveTo>
                    <a:pt x="760" y="93"/>
                  </a:moveTo>
                  <a:cubicBezTo>
                    <a:pt x="760" y="93"/>
                    <a:pt x="760" y="93"/>
                    <a:pt x="760" y="93"/>
                  </a:cubicBezTo>
                  <a:cubicBezTo>
                    <a:pt x="760" y="85"/>
                    <a:pt x="760" y="85"/>
                    <a:pt x="760" y="85"/>
                  </a:cubicBezTo>
                  <a:cubicBezTo>
                    <a:pt x="759" y="86"/>
                    <a:pt x="756" y="86"/>
                    <a:pt x="754" y="86"/>
                  </a:cubicBezTo>
                  <a:cubicBezTo>
                    <a:pt x="750" y="86"/>
                    <a:pt x="748" y="86"/>
                    <a:pt x="747" y="84"/>
                  </a:cubicBezTo>
                  <a:cubicBezTo>
                    <a:pt x="745" y="82"/>
                    <a:pt x="745" y="79"/>
                    <a:pt x="745" y="75"/>
                  </a:cubicBezTo>
                  <a:cubicBezTo>
                    <a:pt x="745" y="75"/>
                    <a:pt x="745" y="75"/>
                    <a:pt x="745" y="39"/>
                  </a:cubicBezTo>
                  <a:cubicBezTo>
                    <a:pt x="745" y="39"/>
                    <a:pt x="745" y="39"/>
                    <a:pt x="760" y="39"/>
                  </a:cubicBezTo>
                  <a:cubicBezTo>
                    <a:pt x="760" y="39"/>
                    <a:pt x="760" y="39"/>
                    <a:pt x="760" y="30"/>
                  </a:cubicBezTo>
                  <a:cubicBezTo>
                    <a:pt x="760" y="30"/>
                    <a:pt x="760" y="30"/>
                    <a:pt x="745" y="30"/>
                  </a:cubicBezTo>
                  <a:cubicBezTo>
                    <a:pt x="745" y="30"/>
                    <a:pt x="745" y="30"/>
                    <a:pt x="745" y="11"/>
                  </a:cubicBezTo>
                  <a:cubicBezTo>
                    <a:pt x="741" y="12"/>
                    <a:pt x="737" y="13"/>
                    <a:pt x="734" y="15"/>
                  </a:cubicBezTo>
                  <a:cubicBezTo>
                    <a:pt x="734" y="15"/>
                    <a:pt x="734" y="15"/>
                    <a:pt x="734" y="30"/>
                  </a:cubicBezTo>
                  <a:cubicBezTo>
                    <a:pt x="734" y="30"/>
                    <a:pt x="734" y="30"/>
                    <a:pt x="723" y="30"/>
                  </a:cubicBezTo>
                  <a:cubicBezTo>
                    <a:pt x="723" y="30"/>
                    <a:pt x="723" y="30"/>
                    <a:pt x="723" y="39"/>
                  </a:cubicBezTo>
                  <a:cubicBezTo>
                    <a:pt x="723" y="39"/>
                    <a:pt x="723" y="39"/>
                    <a:pt x="734" y="39"/>
                  </a:cubicBezTo>
                  <a:cubicBezTo>
                    <a:pt x="734" y="39"/>
                    <a:pt x="734" y="39"/>
                    <a:pt x="734" y="77"/>
                  </a:cubicBezTo>
                  <a:cubicBezTo>
                    <a:pt x="734" y="89"/>
                    <a:pt x="740" y="95"/>
                    <a:pt x="751" y="95"/>
                  </a:cubicBezTo>
                  <a:cubicBezTo>
                    <a:pt x="755" y="95"/>
                    <a:pt x="758" y="95"/>
                    <a:pt x="760" y="93"/>
                  </a:cubicBezTo>
                  <a:close/>
                  <a:moveTo>
                    <a:pt x="820" y="94"/>
                  </a:moveTo>
                  <a:cubicBezTo>
                    <a:pt x="820" y="94"/>
                    <a:pt x="820" y="94"/>
                    <a:pt x="820" y="94"/>
                  </a:cubicBezTo>
                  <a:cubicBezTo>
                    <a:pt x="820" y="30"/>
                    <a:pt x="820" y="30"/>
                    <a:pt x="820" y="30"/>
                  </a:cubicBezTo>
                  <a:cubicBezTo>
                    <a:pt x="820" y="30"/>
                    <a:pt x="820" y="30"/>
                    <a:pt x="810" y="30"/>
                  </a:cubicBezTo>
                  <a:cubicBezTo>
                    <a:pt x="810" y="30"/>
                    <a:pt x="810" y="30"/>
                    <a:pt x="810" y="67"/>
                  </a:cubicBezTo>
                  <a:cubicBezTo>
                    <a:pt x="810" y="73"/>
                    <a:pt x="809" y="78"/>
                    <a:pt x="805" y="81"/>
                  </a:cubicBezTo>
                  <a:cubicBezTo>
                    <a:pt x="802" y="85"/>
                    <a:pt x="798" y="87"/>
                    <a:pt x="793" y="87"/>
                  </a:cubicBezTo>
                  <a:cubicBezTo>
                    <a:pt x="783" y="87"/>
                    <a:pt x="778" y="80"/>
                    <a:pt x="778" y="67"/>
                  </a:cubicBezTo>
                  <a:cubicBezTo>
                    <a:pt x="778" y="67"/>
                    <a:pt x="778" y="67"/>
                    <a:pt x="778" y="30"/>
                  </a:cubicBezTo>
                  <a:cubicBezTo>
                    <a:pt x="778" y="30"/>
                    <a:pt x="778" y="30"/>
                    <a:pt x="768" y="30"/>
                  </a:cubicBezTo>
                  <a:cubicBezTo>
                    <a:pt x="768" y="30"/>
                    <a:pt x="768" y="30"/>
                    <a:pt x="768" y="68"/>
                  </a:cubicBezTo>
                  <a:cubicBezTo>
                    <a:pt x="768" y="86"/>
                    <a:pt x="775" y="95"/>
                    <a:pt x="790" y="95"/>
                  </a:cubicBezTo>
                  <a:cubicBezTo>
                    <a:pt x="799" y="95"/>
                    <a:pt x="805" y="92"/>
                    <a:pt x="810" y="84"/>
                  </a:cubicBezTo>
                  <a:cubicBezTo>
                    <a:pt x="810" y="84"/>
                    <a:pt x="810" y="84"/>
                    <a:pt x="810" y="84"/>
                  </a:cubicBezTo>
                  <a:cubicBezTo>
                    <a:pt x="810" y="84"/>
                    <a:pt x="810" y="84"/>
                    <a:pt x="810" y="94"/>
                  </a:cubicBezTo>
                  <a:cubicBezTo>
                    <a:pt x="810" y="94"/>
                    <a:pt x="810" y="94"/>
                    <a:pt x="820" y="94"/>
                  </a:cubicBezTo>
                  <a:close/>
                  <a:moveTo>
                    <a:pt x="889" y="94"/>
                  </a:moveTo>
                  <a:cubicBezTo>
                    <a:pt x="889" y="94"/>
                    <a:pt x="889" y="94"/>
                    <a:pt x="889" y="94"/>
                  </a:cubicBezTo>
                  <a:cubicBezTo>
                    <a:pt x="889" y="55"/>
                    <a:pt x="889" y="55"/>
                    <a:pt x="889" y="55"/>
                  </a:cubicBezTo>
                  <a:cubicBezTo>
                    <a:pt x="889" y="47"/>
                    <a:pt x="887" y="40"/>
                    <a:pt x="883" y="36"/>
                  </a:cubicBezTo>
                  <a:cubicBezTo>
                    <a:pt x="880" y="31"/>
                    <a:pt x="875" y="29"/>
                    <a:pt x="868" y="29"/>
                  </a:cubicBezTo>
                  <a:cubicBezTo>
                    <a:pt x="858" y="29"/>
                    <a:pt x="851" y="33"/>
                    <a:pt x="846" y="41"/>
                  </a:cubicBezTo>
                  <a:cubicBezTo>
                    <a:pt x="846" y="41"/>
                    <a:pt x="846" y="41"/>
                    <a:pt x="846" y="41"/>
                  </a:cubicBezTo>
                  <a:cubicBezTo>
                    <a:pt x="846" y="41"/>
                    <a:pt x="846" y="41"/>
                    <a:pt x="846" y="30"/>
                  </a:cubicBezTo>
                  <a:cubicBezTo>
                    <a:pt x="846" y="30"/>
                    <a:pt x="846" y="30"/>
                    <a:pt x="836" y="30"/>
                  </a:cubicBezTo>
                  <a:cubicBezTo>
                    <a:pt x="836" y="30"/>
                    <a:pt x="836" y="30"/>
                    <a:pt x="836" y="94"/>
                  </a:cubicBezTo>
                  <a:cubicBezTo>
                    <a:pt x="836" y="94"/>
                    <a:pt x="836" y="94"/>
                    <a:pt x="846" y="94"/>
                  </a:cubicBezTo>
                  <a:cubicBezTo>
                    <a:pt x="846" y="94"/>
                    <a:pt x="846" y="94"/>
                    <a:pt x="846" y="58"/>
                  </a:cubicBezTo>
                  <a:cubicBezTo>
                    <a:pt x="846" y="52"/>
                    <a:pt x="848" y="47"/>
                    <a:pt x="851" y="43"/>
                  </a:cubicBezTo>
                  <a:cubicBezTo>
                    <a:pt x="855" y="39"/>
                    <a:pt x="859" y="37"/>
                    <a:pt x="864" y="37"/>
                  </a:cubicBezTo>
                  <a:cubicBezTo>
                    <a:pt x="874" y="37"/>
                    <a:pt x="879" y="44"/>
                    <a:pt x="879" y="58"/>
                  </a:cubicBezTo>
                  <a:cubicBezTo>
                    <a:pt x="879" y="58"/>
                    <a:pt x="879" y="58"/>
                    <a:pt x="879" y="94"/>
                  </a:cubicBezTo>
                  <a:cubicBezTo>
                    <a:pt x="879" y="94"/>
                    <a:pt x="879" y="94"/>
                    <a:pt x="889" y="94"/>
                  </a:cubicBezTo>
                  <a:close/>
                  <a:moveTo>
                    <a:pt x="954" y="65"/>
                  </a:moveTo>
                  <a:cubicBezTo>
                    <a:pt x="954" y="65"/>
                    <a:pt x="954" y="65"/>
                    <a:pt x="954" y="65"/>
                  </a:cubicBezTo>
                  <a:cubicBezTo>
                    <a:pt x="954" y="59"/>
                    <a:pt x="954" y="59"/>
                    <a:pt x="954" y="59"/>
                  </a:cubicBezTo>
                  <a:cubicBezTo>
                    <a:pt x="954" y="50"/>
                    <a:pt x="951" y="43"/>
                    <a:pt x="947" y="37"/>
                  </a:cubicBezTo>
                  <a:cubicBezTo>
                    <a:pt x="943" y="32"/>
                    <a:pt x="936" y="29"/>
                    <a:pt x="928" y="29"/>
                  </a:cubicBezTo>
                  <a:cubicBezTo>
                    <a:pt x="919" y="29"/>
                    <a:pt x="913" y="32"/>
                    <a:pt x="907" y="37"/>
                  </a:cubicBezTo>
                  <a:cubicBezTo>
                    <a:pt x="901" y="44"/>
                    <a:pt x="898" y="52"/>
                    <a:pt x="898" y="62"/>
                  </a:cubicBezTo>
                  <a:cubicBezTo>
                    <a:pt x="898" y="73"/>
                    <a:pt x="901" y="82"/>
                    <a:pt x="906" y="87"/>
                  </a:cubicBezTo>
                  <a:cubicBezTo>
                    <a:pt x="911" y="93"/>
                    <a:pt x="918" y="95"/>
                    <a:pt x="927" y="95"/>
                  </a:cubicBezTo>
                  <a:cubicBezTo>
                    <a:pt x="936" y="95"/>
                    <a:pt x="944" y="94"/>
                    <a:pt x="949" y="89"/>
                  </a:cubicBezTo>
                  <a:cubicBezTo>
                    <a:pt x="949" y="89"/>
                    <a:pt x="949" y="89"/>
                    <a:pt x="949" y="80"/>
                  </a:cubicBezTo>
                  <a:cubicBezTo>
                    <a:pt x="943" y="84"/>
                    <a:pt x="936" y="87"/>
                    <a:pt x="929" y="87"/>
                  </a:cubicBezTo>
                  <a:cubicBezTo>
                    <a:pt x="923" y="87"/>
                    <a:pt x="918" y="85"/>
                    <a:pt x="914" y="81"/>
                  </a:cubicBezTo>
                  <a:cubicBezTo>
                    <a:pt x="911" y="77"/>
                    <a:pt x="909" y="72"/>
                    <a:pt x="909" y="65"/>
                  </a:cubicBezTo>
                  <a:cubicBezTo>
                    <a:pt x="909" y="65"/>
                    <a:pt x="909" y="65"/>
                    <a:pt x="954" y="65"/>
                  </a:cubicBezTo>
                  <a:close/>
                  <a:moveTo>
                    <a:pt x="943" y="56"/>
                  </a:moveTo>
                  <a:cubicBezTo>
                    <a:pt x="943" y="56"/>
                    <a:pt x="943" y="56"/>
                    <a:pt x="943" y="56"/>
                  </a:cubicBezTo>
                  <a:cubicBezTo>
                    <a:pt x="909" y="56"/>
                    <a:pt x="909" y="56"/>
                    <a:pt x="909" y="56"/>
                  </a:cubicBezTo>
                  <a:cubicBezTo>
                    <a:pt x="910" y="50"/>
                    <a:pt x="912" y="46"/>
                    <a:pt x="915" y="43"/>
                  </a:cubicBezTo>
                  <a:cubicBezTo>
                    <a:pt x="918" y="39"/>
                    <a:pt x="922" y="37"/>
                    <a:pt x="927" y="37"/>
                  </a:cubicBezTo>
                  <a:cubicBezTo>
                    <a:pt x="933" y="37"/>
                    <a:pt x="936" y="39"/>
                    <a:pt x="939" y="42"/>
                  </a:cubicBezTo>
                  <a:cubicBezTo>
                    <a:pt x="942" y="46"/>
                    <a:pt x="943" y="50"/>
                    <a:pt x="943" y="56"/>
                  </a:cubicBezTo>
                  <a:close/>
                  <a:moveTo>
                    <a:pt x="43" y="46"/>
                  </a:moveTo>
                  <a:cubicBezTo>
                    <a:pt x="43" y="7"/>
                    <a:pt x="43" y="7"/>
                    <a:pt x="43" y="7"/>
                  </a:cubicBezTo>
                  <a:cubicBezTo>
                    <a:pt x="95" y="0"/>
                    <a:pt x="95" y="0"/>
                    <a:pt x="95" y="0"/>
                  </a:cubicBezTo>
                  <a:cubicBezTo>
                    <a:pt x="95" y="46"/>
                    <a:pt x="95" y="46"/>
                    <a:pt x="95" y="46"/>
                  </a:cubicBezTo>
                  <a:cubicBezTo>
                    <a:pt x="43" y="46"/>
                    <a:pt x="43" y="46"/>
                    <a:pt x="43" y="46"/>
                  </a:cubicBezTo>
                  <a:cubicBezTo>
                    <a:pt x="43" y="46"/>
                    <a:pt x="43" y="46"/>
                    <a:pt x="43" y="46"/>
                  </a:cubicBezTo>
                  <a:close/>
                  <a:moveTo>
                    <a:pt x="39" y="8"/>
                  </a:moveTo>
                  <a:cubicBezTo>
                    <a:pt x="0" y="14"/>
                    <a:pt x="0" y="14"/>
                    <a:pt x="0" y="14"/>
                  </a:cubicBezTo>
                  <a:cubicBezTo>
                    <a:pt x="0" y="46"/>
                    <a:pt x="0" y="46"/>
                    <a:pt x="0" y="46"/>
                  </a:cubicBezTo>
                  <a:cubicBezTo>
                    <a:pt x="39" y="46"/>
                    <a:pt x="39" y="46"/>
                    <a:pt x="39" y="46"/>
                  </a:cubicBezTo>
                  <a:cubicBezTo>
                    <a:pt x="39" y="8"/>
                    <a:pt x="39" y="8"/>
                    <a:pt x="39" y="8"/>
                  </a:cubicBezTo>
                  <a:cubicBezTo>
                    <a:pt x="39" y="8"/>
                    <a:pt x="39" y="8"/>
                    <a:pt x="39" y="8"/>
                  </a:cubicBezTo>
                  <a:close/>
                  <a:moveTo>
                    <a:pt x="0" y="49"/>
                  </a:moveTo>
                  <a:cubicBezTo>
                    <a:pt x="0" y="82"/>
                    <a:pt x="0" y="82"/>
                    <a:pt x="0" y="82"/>
                  </a:cubicBezTo>
                  <a:cubicBezTo>
                    <a:pt x="39" y="88"/>
                    <a:pt x="39" y="88"/>
                    <a:pt x="39" y="88"/>
                  </a:cubicBezTo>
                  <a:cubicBezTo>
                    <a:pt x="39" y="49"/>
                    <a:pt x="39" y="49"/>
                    <a:pt x="39" y="49"/>
                  </a:cubicBezTo>
                  <a:cubicBezTo>
                    <a:pt x="0" y="49"/>
                    <a:pt x="0" y="49"/>
                    <a:pt x="0" y="49"/>
                  </a:cubicBezTo>
                  <a:cubicBezTo>
                    <a:pt x="0" y="49"/>
                    <a:pt x="0" y="49"/>
                    <a:pt x="0" y="49"/>
                  </a:cubicBezTo>
                  <a:close/>
                  <a:moveTo>
                    <a:pt x="43" y="88"/>
                  </a:moveTo>
                  <a:cubicBezTo>
                    <a:pt x="95" y="96"/>
                    <a:pt x="95" y="96"/>
                    <a:pt x="95" y="96"/>
                  </a:cubicBezTo>
                  <a:cubicBezTo>
                    <a:pt x="95" y="49"/>
                    <a:pt x="95" y="49"/>
                    <a:pt x="95" y="49"/>
                  </a:cubicBezTo>
                  <a:cubicBezTo>
                    <a:pt x="43" y="49"/>
                    <a:pt x="43" y="49"/>
                    <a:pt x="43" y="49"/>
                  </a:cubicBezTo>
                  <a:cubicBezTo>
                    <a:pt x="43" y="88"/>
                    <a:pt x="43" y="88"/>
                    <a:pt x="43" y="88"/>
                  </a:cubicBezTo>
                  <a:cubicBezTo>
                    <a:pt x="43" y="88"/>
                    <a:pt x="43" y="88"/>
                    <a:pt x="43" y="8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grpSp>
      <p:grpSp>
        <p:nvGrpSpPr>
          <p:cNvPr id="19" name="Group 18"/>
          <p:cNvGrpSpPr/>
          <p:nvPr/>
        </p:nvGrpSpPr>
        <p:grpSpPr>
          <a:xfrm>
            <a:off x="9686327" y="859569"/>
            <a:ext cx="2114903" cy="1535522"/>
            <a:chOff x="8951076" y="1367117"/>
            <a:chExt cx="2115203" cy="1535739"/>
          </a:xfrm>
        </p:grpSpPr>
        <p:sp>
          <p:nvSpPr>
            <p:cNvPr id="20" name="Oval 19"/>
            <p:cNvSpPr/>
            <p:nvPr>
              <p:custDataLst>
                <p:tags r:id="rId4"/>
              </p:custDataLst>
            </p:nvPr>
          </p:nvSpPr>
          <p:spPr bwMode="auto">
            <a:xfrm>
              <a:off x="8951076" y="1367117"/>
              <a:ext cx="2115203" cy="1535739"/>
            </a:xfrm>
            <a:prstGeom prst="ellipse">
              <a:avLst/>
            </a:prstGeom>
            <a:noFill/>
            <a:ln w="19050" cap="flat" cmpd="sng" algn="ctr">
              <a:solidFill>
                <a:srgbClr val="FFFFFF"/>
              </a:solidFill>
              <a:prstDash val="solid"/>
              <a:headEnd type="none" w="med" len="med"/>
              <a:tailEnd type="none" w="med" len="med"/>
            </a:ln>
            <a:effectLst/>
          </p:spPr>
          <p:txBody>
            <a:bodyPr vert="horz" wrap="square" lIns="111899" tIns="55949" rIns="111899" bIns="55949" numCol="1" rtlCol="0" anchor="ctr" anchorCtr="0" compatLnSpc="1">
              <a:prstTxWarp prst="textNoShape">
                <a:avLst/>
              </a:prstTxWarp>
            </a:bodyPr>
            <a:lstStyle/>
            <a:p>
              <a:pPr algn="ctr" defTabSz="1118705" fontAlgn="base">
                <a:spcBef>
                  <a:spcPct val="0"/>
                </a:spcBef>
                <a:spcAft>
                  <a:spcPct val="0"/>
                </a:spcAft>
                <a:defRPr/>
              </a:pPr>
              <a:endParaRPr lang="en-US" sz="2754" kern="0" dirty="0">
                <a:solidFill>
                  <a:srgbClr val="FFFFFF"/>
                </a:solidFill>
              </a:endParaRPr>
            </a:p>
          </p:txBody>
        </p:sp>
        <p:sp>
          <p:nvSpPr>
            <p:cNvPr id="21" name="Rounded Rectangle 2058"/>
            <p:cNvSpPr>
              <a:spLocks noChangeAspect="1"/>
            </p:cNvSpPr>
            <p:nvPr/>
          </p:nvSpPr>
          <p:spPr bwMode="auto">
            <a:xfrm>
              <a:off x="9838423" y="1517814"/>
              <a:ext cx="340503" cy="621651"/>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93251" tIns="46625" rIns="46625" bIns="93251" numCol="1" spcCol="0" rtlCol="0" fromWordArt="0" anchor="b" anchorCtr="0" forceAA="0" compatLnSpc="1">
              <a:prstTxWarp prst="textNoShape">
                <a:avLst/>
              </a:prstTxWarp>
              <a:noAutofit/>
            </a:bodyPr>
            <a:lstStyle/>
            <a:p>
              <a:pPr algn="ctr" defTabSz="932212" fontAlgn="base">
                <a:spcBef>
                  <a:spcPct val="0"/>
                </a:spcBef>
                <a:spcAft>
                  <a:spcPct val="0"/>
                </a:spcAft>
                <a:defRPr/>
              </a:pPr>
              <a:endParaRPr lang="en-US" kern="0" spc="-51" dirty="0">
                <a:solidFill>
                  <a:srgbClr val="FFFFFF"/>
                </a:solidFill>
                <a:ea typeface="Segoe UI" pitchFamily="34" charset="0"/>
                <a:cs typeface="Segoe UI" pitchFamily="34" charset="0"/>
              </a:endParaRPr>
            </a:p>
          </p:txBody>
        </p:sp>
        <p:sp>
          <p:nvSpPr>
            <p:cNvPr id="22" name="Freeform 21"/>
            <p:cNvSpPr>
              <a:spLocks noChangeAspect="1" noEditPoints="1"/>
            </p:cNvSpPr>
            <p:nvPr/>
          </p:nvSpPr>
          <p:spPr bwMode="auto">
            <a:xfrm>
              <a:off x="9142209" y="2242683"/>
              <a:ext cx="1824016" cy="280662"/>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defTabSz="914005"/>
              <a:endParaRPr lang="en-US" sz="1763"/>
            </a:p>
          </p:txBody>
        </p:sp>
      </p:grpSp>
      <p:grpSp>
        <p:nvGrpSpPr>
          <p:cNvPr id="23" name="Group 22"/>
          <p:cNvGrpSpPr/>
          <p:nvPr/>
        </p:nvGrpSpPr>
        <p:grpSpPr>
          <a:xfrm>
            <a:off x="9877432" y="4343763"/>
            <a:ext cx="1943385" cy="1476922"/>
            <a:chOff x="3435182" y="5042873"/>
            <a:chExt cx="1943660" cy="1477131"/>
          </a:xfrm>
        </p:grpSpPr>
        <p:sp>
          <p:nvSpPr>
            <p:cNvPr id="24" name="Oval 23"/>
            <p:cNvSpPr/>
            <p:nvPr>
              <p:custDataLst>
                <p:tags r:id="rId3"/>
              </p:custDataLst>
            </p:nvPr>
          </p:nvSpPr>
          <p:spPr bwMode="auto">
            <a:xfrm>
              <a:off x="3435182" y="5042873"/>
              <a:ext cx="1943660" cy="1477131"/>
            </a:xfrm>
            <a:prstGeom prst="ellipse">
              <a:avLst/>
            </a:prstGeom>
            <a:noFill/>
            <a:ln w="19050" cap="flat" cmpd="sng" algn="ctr">
              <a:solidFill>
                <a:srgbClr val="FFFFFF"/>
              </a:solidFill>
              <a:prstDash val="solid"/>
              <a:headEnd type="none" w="med" len="med"/>
              <a:tailEnd type="none" w="med" len="med"/>
            </a:ln>
            <a:effectLst/>
          </p:spPr>
          <p:txBody>
            <a:bodyPr vert="horz" wrap="square" lIns="114127" tIns="57063" rIns="114127" bIns="57063" numCol="1" rtlCol="0" anchor="ctr" anchorCtr="0" compatLnSpc="1">
              <a:prstTxWarp prst="textNoShape">
                <a:avLst/>
              </a:prstTxWarp>
            </a:bodyPr>
            <a:lstStyle/>
            <a:p>
              <a:pPr algn="ctr" defTabSz="1140968" fontAlgn="base">
                <a:spcBef>
                  <a:spcPct val="0"/>
                </a:spcBef>
                <a:spcAft>
                  <a:spcPct val="0"/>
                </a:spcAft>
                <a:defRPr/>
              </a:pPr>
              <a:endParaRPr lang="en-US" sz="2809" kern="0" dirty="0">
                <a:solidFill>
                  <a:srgbClr val="FFFFFF"/>
                </a:solidFill>
              </a:endParaRPr>
            </a:p>
          </p:txBody>
        </p:sp>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37113" y="5820371"/>
              <a:ext cx="1808890" cy="421949"/>
            </a:xfrm>
            <a:prstGeom prst="rect">
              <a:avLst/>
            </a:prstGeom>
          </p:spPr>
        </p:pic>
        <p:sp>
          <p:nvSpPr>
            <p:cNvPr id="26" name="Rectangle 25"/>
            <p:cNvSpPr/>
            <p:nvPr/>
          </p:nvSpPr>
          <p:spPr>
            <a:xfrm>
              <a:off x="3927803" y="6086367"/>
              <a:ext cx="1030143" cy="176138"/>
            </a:xfrm>
            <a:prstGeom prst="rect">
              <a:avLst/>
            </a:prstGeom>
            <a:ln>
              <a:noFill/>
            </a:ln>
          </p:spPr>
          <p:txBody>
            <a:bodyPr wrap="none" lIns="0" tIns="0" rIns="0" bIns="0" anchor="ctr">
              <a:spAutoFit/>
            </a:bodyPr>
            <a:lstStyle/>
            <a:p>
              <a:pPr algn="ctr" defTabSz="1140578" fontAlgn="base">
                <a:spcBef>
                  <a:spcPts val="1497"/>
                </a:spcBef>
                <a:spcAft>
                  <a:spcPct val="0"/>
                </a:spcAft>
              </a:pPr>
              <a:r>
                <a:rPr lang="en-US" sz="1122" dirty="0">
                  <a:ln>
                    <a:solidFill>
                      <a:srgbClr val="FFFFFF">
                        <a:alpha val="0"/>
                      </a:srgbClr>
                    </a:solidFill>
                  </a:ln>
                  <a:solidFill>
                    <a:srgbClr val="FFFFFF"/>
                  </a:solidFill>
                  <a:latin typeface="Segoe"/>
                </a:rPr>
                <a:t>Active Directory</a:t>
              </a:r>
            </a:p>
          </p:txBody>
        </p:sp>
        <p:pic>
          <p:nvPicPr>
            <p:cNvPr id="27" name="Picture 2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20288" y="5203147"/>
              <a:ext cx="967012" cy="646270"/>
            </a:xfrm>
            <a:prstGeom prst="rect">
              <a:avLst/>
            </a:prstGeom>
          </p:spPr>
        </p:pic>
      </p:grpSp>
      <p:cxnSp>
        <p:nvCxnSpPr>
          <p:cNvPr id="28" name="Straight Connector 27"/>
          <p:cNvCxnSpPr/>
          <p:nvPr/>
        </p:nvCxnSpPr>
        <p:spPr>
          <a:xfrm flipV="1">
            <a:off x="2253614" y="1778867"/>
            <a:ext cx="2634590" cy="1827712"/>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2253614" y="4107429"/>
            <a:ext cx="2984276" cy="1205185"/>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6169996" y="5367892"/>
            <a:ext cx="1886830" cy="11386"/>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9063024" y="5209692"/>
            <a:ext cx="623302" cy="135893"/>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320197" y="1602413"/>
            <a:ext cx="2095203" cy="0"/>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5794987" y="4412543"/>
            <a:ext cx="0" cy="403147"/>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10800533" y="3606579"/>
            <a:ext cx="0" cy="566668"/>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5" name="Group 34"/>
          <p:cNvGrpSpPr/>
          <p:nvPr/>
        </p:nvGrpSpPr>
        <p:grpSpPr>
          <a:xfrm>
            <a:off x="652063" y="3145528"/>
            <a:ext cx="1601551" cy="1475518"/>
            <a:chOff x="4734386" y="1953440"/>
            <a:chExt cx="1905893" cy="1755911"/>
          </a:xfrm>
        </p:grpSpPr>
        <p:grpSp>
          <p:nvGrpSpPr>
            <p:cNvPr id="36" name="Group 35"/>
            <p:cNvGrpSpPr/>
            <p:nvPr/>
          </p:nvGrpSpPr>
          <p:grpSpPr>
            <a:xfrm>
              <a:off x="4734386" y="1953440"/>
              <a:ext cx="1905893" cy="1755911"/>
              <a:chOff x="3583536" y="3115373"/>
              <a:chExt cx="1559387" cy="1436675"/>
            </a:xfrm>
          </p:grpSpPr>
          <p:pic>
            <p:nvPicPr>
              <p:cNvPr id="38" name="Picture 3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583536" y="3910135"/>
                <a:ext cx="1061011" cy="641913"/>
              </a:xfrm>
              <a:prstGeom prst="rect">
                <a:avLst/>
              </a:prstGeom>
            </p:spPr>
          </p:pic>
          <p:pic>
            <p:nvPicPr>
              <p:cNvPr id="39" name="Picture 3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63398" y="3911288"/>
                <a:ext cx="314989" cy="582236"/>
              </a:xfrm>
              <a:prstGeom prst="rect">
                <a:avLst/>
              </a:prstGeom>
            </p:spPr>
          </p:pic>
          <p:pic>
            <p:nvPicPr>
              <p:cNvPr id="40" name="Picture 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698507" y="3115373"/>
                <a:ext cx="444416" cy="664409"/>
              </a:xfrm>
              <a:prstGeom prst="rect">
                <a:avLst/>
              </a:prstGeom>
            </p:spPr>
          </p:pic>
        </p:grpSp>
        <p:pic>
          <p:nvPicPr>
            <p:cNvPr id="37" name="Picture 3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914946" y="1962709"/>
              <a:ext cx="937253" cy="802915"/>
            </a:xfrm>
            <a:prstGeom prst="rect">
              <a:avLst/>
            </a:prstGeom>
          </p:spPr>
        </p:pic>
      </p:grpSp>
      <p:grpSp>
        <p:nvGrpSpPr>
          <p:cNvPr id="41" name="Group 40"/>
          <p:cNvGrpSpPr/>
          <p:nvPr/>
        </p:nvGrpSpPr>
        <p:grpSpPr>
          <a:xfrm>
            <a:off x="5003661" y="4900314"/>
            <a:ext cx="1622816" cy="1034171"/>
            <a:chOff x="5007860" y="4509629"/>
            <a:chExt cx="1623047" cy="1034317"/>
          </a:xfrm>
        </p:grpSpPr>
        <p:sp>
          <p:nvSpPr>
            <p:cNvPr id="42" name="Rectangle 41"/>
            <p:cNvSpPr/>
            <p:nvPr/>
          </p:nvSpPr>
          <p:spPr>
            <a:xfrm>
              <a:off x="5007860" y="5355903"/>
              <a:ext cx="1623047" cy="188043"/>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FFFFFF"/>
                  </a:solidFill>
                </a:rPr>
                <a:t>Web Application Proxy</a:t>
              </a:r>
            </a:p>
          </p:txBody>
        </p:sp>
        <p:grpSp>
          <p:nvGrpSpPr>
            <p:cNvPr id="43" name="Group 42"/>
            <p:cNvGrpSpPr/>
            <p:nvPr/>
          </p:nvGrpSpPr>
          <p:grpSpPr>
            <a:xfrm>
              <a:off x="5374065" y="4509629"/>
              <a:ext cx="626677" cy="809804"/>
              <a:chOff x="6218374" y="4803938"/>
              <a:chExt cx="836613" cy="1081087"/>
            </a:xfrm>
          </p:grpSpPr>
          <p:sp>
            <p:nvSpPr>
              <p:cNvPr id="44" name="Freeform 7"/>
              <p:cNvSpPr>
                <a:spLocks noEditPoints="1"/>
              </p:cNvSpPr>
              <p:nvPr/>
            </p:nvSpPr>
            <p:spPr bwMode="auto">
              <a:xfrm>
                <a:off x="6496187" y="4803938"/>
                <a:ext cx="558800" cy="1081087"/>
              </a:xfrm>
              <a:custGeom>
                <a:avLst/>
                <a:gdLst>
                  <a:gd name="T0" fmla="*/ 1513 w 1760"/>
                  <a:gd name="T1" fmla="*/ 2946 h 3403"/>
                  <a:gd name="T2" fmla="*/ 1569 w 1760"/>
                  <a:gd name="T3" fmla="*/ 3116 h 3403"/>
                  <a:gd name="T4" fmla="*/ 247 w 1760"/>
                  <a:gd name="T5" fmla="*/ 2748 h 3403"/>
                  <a:gd name="T6" fmla="*/ 191 w 1760"/>
                  <a:gd name="T7" fmla="*/ 2632 h 3403"/>
                  <a:gd name="T8" fmla="*/ 191 w 1760"/>
                  <a:gd name="T9" fmla="*/ 2632 h 3403"/>
                  <a:gd name="T10" fmla="*/ 191 w 1760"/>
                  <a:gd name="T11" fmla="*/ 2546 h 3403"/>
                  <a:gd name="T12" fmla="*/ 455 w 1760"/>
                  <a:gd name="T13" fmla="*/ 2490 h 3403"/>
                  <a:gd name="T14" fmla="*/ 191 w 1760"/>
                  <a:gd name="T15" fmla="*/ 622 h 3403"/>
                  <a:gd name="T16" fmla="*/ 266 w 1760"/>
                  <a:gd name="T17" fmla="*/ 797 h 3403"/>
                  <a:gd name="T18" fmla="*/ 247 w 1760"/>
                  <a:gd name="T19" fmla="*/ 825 h 3403"/>
                  <a:gd name="T20" fmla="*/ 1507 w 1760"/>
                  <a:gd name="T21" fmla="*/ 0 h 3403"/>
                  <a:gd name="T22" fmla="*/ 1579 w 1760"/>
                  <a:gd name="T23" fmla="*/ 9 h 3403"/>
                  <a:gd name="T24" fmla="*/ 1644 w 1760"/>
                  <a:gd name="T25" fmla="*/ 36 h 3403"/>
                  <a:gd name="T26" fmla="*/ 1715 w 1760"/>
                  <a:gd name="T27" fmla="*/ 96 h 3403"/>
                  <a:gd name="T28" fmla="*/ 1749 w 1760"/>
                  <a:gd name="T29" fmla="*/ 158 h 3403"/>
                  <a:gd name="T30" fmla="*/ 1760 w 1760"/>
                  <a:gd name="T31" fmla="*/ 207 h 3403"/>
                  <a:gd name="T32" fmla="*/ 1759 w 1760"/>
                  <a:gd name="T33" fmla="*/ 3201 h 3403"/>
                  <a:gd name="T34" fmla="*/ 1742 w 1760"/>
                  <a:gd name="T35" fmla="*/ 3264 h 3403"/>
                  <a:gd name="T36" fmla="*/ 1701 w 1760"/>
                  <a:gd name="T37" fmla="*/ 3322 h 3403"/>
                  <a:gd name="T38" fmla="*/ 1625 w 1760"/>
                  <a:gd name="T39" fmla="*/ 3377 h 3403"/>
                  <a:gd name="T40" fmla="*/ 1558 w 1760"/>
                  <a:gd name="T41" fmla="*/ 3399 h 3403"/>
                  <a:gd name="T42" fmla="*/ 254 w 1760"/>
                  <a:gd name="T43" fmla="*/ 3403 h 3403"/>
                  <a:gd name="T44" fmla="*/ 181 w 1760"/>
                  <a:gd name="T45" fmla="*/ 3394 h 3403"/>
                  <a:gd name="T46" fmla="*/ 116 w 1760"/>
                  <a:gd name="T47" fmla="*/ 3367 h 3403"/>
                  <a:gd name="T48" fmla="*/ 60 w 1760"/>
                  <a:gd name="T49" fmla="*/ 3322 h 3403"/>
                  <a:gd name="T50" fmla="*/ 19 w 1760"/>
                  <a:gd name="T51" fmla="*/ 3264 h 3403"/>
                  <a:gd name="T52" fmla="*/ 2 w 1760"/>
                  <a:gd name="T53" fmla="*/ 3201 h 3403"/>
                  <a:gd name="T54" fmla="*/ 56 w 1760"/>
                  <a:gd name="T55" fmla="*/ 2500 h 3403"/>
                  <a:gd name="T56" fmla="*/ 60 w 1760"/>
                  <a:gd name="T57" fmla="*/ 3210 h 3403"/>
                  <a:gd name="T58" fmla="*/ 80 w 1760"/>
                  <a:gd name="T59" fmla="*/ 3259 h 3403"/>
                  <a:gd name="T60" fmla="*/ 125 w 1760"/>
                  <a:gd name="T61" fmla="*/ 3305 h 3403"/>
                  <a:gd name="T62" fmla="*/ 197 w 1760"/>
                  <a:gd name="T63" fmla="*/ 3340 h 3403"/>
                  <a:gd name="T64" fmla="*/ 232 w 1760"/>
                  <a:gd name="T65" fmla="*/ 3346 h 3403"/>
                  <a:gd name="T66" fmla="*/ 1528 w 1760"/>
                  <a:gd name="T67" fmla="*/ 3346 h 3403"/>
                  <a:gd name="T68" fmla="*/ 1584 w 1760"/>
                  <a:gd name="T69" fmla="*/ 3333 h 3403"/>
                  <a:gd name="T70" fmla="*/ 1647 w 1760"/>
                  <a:gd name="T71" fmla="*/ 3297 h 3403"/>
                  <a:gd name="T72" fmla="*/ 1690 w 1760"/>
                  <a:gd name="T73" fmla="*/ 3242 h 3403"/>
                  <a:gd name="T74" fmla="*/ 1704 w 1760"/>
                  <a:gd name="T75" fmla="*/ 3189 h 3403"/>
                  <a:gd name="T76" fmla="*/ 1704 w 1760"/>
                  <a:gd name="T77" fmla="*/ 214 h 3403"/>
                  <a:gd name="T78" fmla="*/ 1697 w 1760"/>
                  <a:gd name="T79" fmla="*/ 179 h 3403"/>
                  <a:gd name="T80" fmla="*/ 1662 w 1760"/>
                  <a:gd name="T81" fmla="*/ 120 h 3403"/>
                  <a:gd name="T82" fmla="*/ 1603 w 1760"/>
                  <a:gd name="T83" fmla="*/ 78 h 3403"/>
                  <a:gd name="T84" fmla="*/ 1546 w 1760"/>
                  <a:gd name="T85" fmla="*/ 59 h 3403"/>
                  <a:gd name="T86" fmla="*/ 254 w 1760"/>
                  <a:gd name="T87" fmla="*/ 56 h 3403"/>
                  <a:gd name="T88" fmla="*/ 197 w 1760"/>
                  <a:gd name="T89" fmla="*/ 63 h 3403"/>
                  <a:gd name="T90" fmla="*/ 138 w 1760"/>
                  <a:gd name="T91" fmla="*/ 88 h 3403"/>
                  <a:gd name="T92" fmla="*/ 86 w 1760"/>
                  <a:gd name="T93" fmla="*/ 136 h 3403"/>
                  <a:gd name="T94" fmla="*/ 64 w 1760"/>
                  <a:gd name="T95" fmla="*/ 179 h 3403"/>
                  <a:gd name="T96" fmla="*/ 56 w 1760"/>
                  <a:gd name="T97" fmla="*/ 228 h 3403"/>
                  <a:gd name="T98" fmla="*/ 1 w 1760"/>
                  <a:gd name="T99" fmla="*/ 207 h 3403"/>
                  <a:gd name="T100" fmla="*/ 12 w 1760"/>
                  <a:gd name="T101" fmla="*/ 158 h 3403"/>
                  <a:gd name="T102" fmla="*/ 46 w 1760"/>
                  <a:gd name="T103" fmla="*/ 96 h 3403"/>
                  <a:gd name="T104" fmla="*/ 99 w 1760"/>
                  <a:gd name="T105" fmla="*/ 48 h 3403"/>
                  <a:gd name="T106" fmla="*/ 175 w 1760"/>
                  <a:gd name="T107" fmla="*/ 11 h 3403"/>
                  <a:gd name="T108" fmla="*/ 232 w 1760"/>
                  <a:gd name="T109" fmla="*/ 1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60" h="3403">
                    <a:moveTo>
                      <a:pt x="247" y="2946"/>
                    </a:moveTo>
                    <a:lnTo>
                      <a:pt x="247" y="3060"/>
                    </a:lnTo>
                    <a:lnTo>
                      <a:pt x="1513" y="3060"/>
                    </a:lnTo>
                    <a:lnTo>
                      <a:pt x="1513" y="2946"/>
                    </a:lnTo>
                    <a:lnTo>
                      <a:pt x="247" y="2946"/>
                    </a:lnTo>
                    <a:close/>
                    <a:moveTo>
                      <a:pt x="191" y="2890"/>
                    </a:moveTo>
                    <a:lnTo>
                      <a:pt x="1569" y="2890"/>
                    </a:lnTo>
                    <a:lnTo>
                      <a:pt x="1569" y="3116"/>
                    </a:lnTo>
                    <a:lnTo>
                      <a:pt x="191" y="3116"/>
                    </a:lnTo>
                    <a:lnTo>
                      <a:pt x="191" y="2890"/>
                    </a:lnTo>
                    <a:close/>
                    <a:moveTo>
                      <a:pt x="247" y="2688"/>
                    </a:moveTo>
                    <a:lnTo>
                      <a:pt x="247" y="2748"/>
                    </a:lnTo>
                    <a:lnTo>
                      <a:pt x="455" y="2748"/>
                    </a:lnTo>
                    <a:lnTo>
                      <a:pt x="455" y="2688"/>
                    </a:lnTo>
                    <a:lnTo>
                      <a:pt x="247" y="2688"/>
                    </a:lnTo>
                    <a:close/>
                    <a:moveTo>
                      <a:pt x="191" y="2632"/>
                    </a:moveTo>
                    <a:lnTo>
                      <a:pt x="511" y="2632"/>
                    </a:lnTo>
                    <a:lnTo>
                      <a:pt x="511" y="2804"/>
                    </a:lnTo>
                    <a:lnTo>
                      <a:pt x="191" y="2804"/>
                    </a:lnTo>
                    <a:lnTo>
                      <a:pt x="191" y="2632"/>
                    </a:lnTo>
                    <a:close/>
                    <a:moveTo>
                      <a:pt x="367" y="2373"/>
                    </a:moveTo>
                    <a:lnTo>
                      <a:pt x="511" y="2373"/>
                    </a:lnTo>
                    <a:lnTo>
                      <a:pt x="511" y="2546"/>
                    </a:lnTo>
                    <a:lnTo>
                      <a:pt x="191" y="2546"/>
                    </a:lnTo>
                    <a:lnTo>
                      <a:pt x="191" y="2452"/>
                    </a:lnTo>
                    <a:lnTo>
                      <a:pt x="247" y="2452"/>
                    </a:lnTo>
                    <a:lnTo>
                      <a:pt x="247" y="2490"/>
                    </a:lnTo>
                    <a:lnTo>
                      <a:pt x="455" y="2490"/>
                    </a:lnTo>
                    <a:lnTo>
                      <a:pt x="455" y="2429"/>
                    </a:lnTo>
                    <a:lnTo>
                      <a:pt x="367" y="2429"/>
                    </a:lnTo>
                    <a:lnTo>
                      <a:pt x="367" y="2373"/>
                    </a:lnTo>
                    <a:close/>
                    <a:moveTo>
                      <a:pt x="191" y="622"/>
                    </a:moveTo>
                    <a:lnTo>
                      <a:pt x="1569" y="622"/>
                    </a:lnTo>
                    <a:lnTo>
                      <a:pt x="1569" y="853"/>
                    </a:lnTo>
                    <a:lnTo>
                      <a:pt x="266" y="853"/>
                    </a:lnTo>
                    <a:lnTo>
                      <a:pt x="266" y="797"/>
                    </a:lnTo>
                    <a:lnTo>
                      <a:pt x="1513" y="797"/>
                    </a:lnTo>
                    <a:lnTo>
                      <a:pt x="1513" y="678"/>
                    </a:lnTo>
                    <a:lnTo>
                      <a:pt x="247" y="678"/>
                    </a:lnTo>
                    <a:lnTo>
                      <a:pt x="247" y="825"/>
                    </a:lnTo>
                    <a:lnTo>
                      <a:pt x="191" y="825"/>
                    </a:lnTo>
                    <a:lnTo>
                      <a:pt x="191" y="622"/>
                    </a:lnTo>
                    <a:close/>
                    <a:moveTo>
                      <a:pt x="253" y="0"/>
                    </a:moveTo>
                    <a:lnTo>
                      <a:pt x="1507" y="0"/>
                    </a:lnTo>
                    <a:lnTo>
                      <a:pt x="1528" y="1"/>
                    </a:lnTo>
                    <a:lnTo>
                      <a:pt x="1535" y="2"/>
                    </a:lnTo>
                    <a:lnTo>
                      <a:pt x="1558" y="4"/>
                    </a:lnTo>
                    <a:lnTo>
                      <a:pt x="1579" y="9"/>
                    </a:lnTo>
                    <a:lnTo>
                      <a:pt x="1585" y="11"/>
                    </a:lnTo>
                    <a:lnTo>
                      <a:pt x="1605" y="17"/>
                    </a:lnTo>
                    <a:lnTo>
                      <a:pt x="1625" y="26"/>
                    </a:lnTo>
                    <a:lnTo>
                      <a:pt x="1644" y="36"/>
                    </a:lnTo>
                    <a:lnTo>
                      <a:pt x="1662" y="48"/>
                    </a:lnTo>
                    <a:lnTo>
                      <a:pt x="1687" y="66"/>
                    </a:lnTo>
                    <a:lnTo>
                      <a:pt x="1701" y="81"/>
                    </a:lnTo>
                    <a:lnTo>
                      <a:pt x="1715" y="96"/>
                    </a:lnTo>
                    <a:lnTo>
                      <a:pt x="1726" y="113"/>
                    </a:lnTo>
                    <a:lnTo>
                      <a:pt x="1732" y="121"/>
                    </a:lnTo>
                    <a:lnTo>
                      <a:pt x="1742" y="139"/>
                    </a:lnTo>
                    <a:lnTo>
                      <a:pt x="1749" y="158"/>
                    </a:lnTo>
                    <a:lnTo>
                      <a:pt x="1751" y="163"/>
                    </a:lnTo>
                    <a:lnTo>
                      <a:pt x="1756" y="183"/>
                    </a:lnTo>
                    <a:lnTo>
                      <a:pt x="1759" y="202"/>
                    </a:lnTo>
                    <a:lnTo>
                      <a:pt x="1760" y="207"/>
                    </a:lnTo>
                    <a:lnTo>
                      <a:pt x="1760" y="216"/>
                    </a:lnTo>
                    <a:lnTo>
                      <a:pt x="1760" y="3187"/>
                    </a:lnTo>
                    <a:lnTo>
                      <a:pt x="1760" y="3195"/>
                    </a:lnTo>
                    <a:lnTo>
                      <a:pt x="1759" y="3201"/>
                    </a:lnTo>
                    <a:lnTo>
                      <a:pt x="1756" y="3221"/>
                    </a:lnTo>
                    <a:lnTo>
                      <a:pt x="1751" y="3240"/>
                    </a:lnTo>
                    <a:lnTo>
                      <a:pt x="1749" y="3245"/>
                    </a:lnTo>
                    <a:lnTo>
                      <a:pt x="1742" y="3264"/>
                    </a:lnTo>
                    <a:lnTo>
                      <a:pt x="1732" y="3282"/>
                    </a:lnTo>
                    <a:lnTo>
                      <a:pt x="1726" y="3290"/>
                    </a:lnTo>
                    <a:lnTo>
                      <a:pt x="1715" y="3306"/>
                    </a:lnTo>
                    <a:lnTo>
                      <a:pt x="1701" y="3322"/>
                    </a:lnTo>
                    <a:lnTo>
                      <a:pt x="1687" y="3337"/>
                    </a:lnTo>
                    <a:lnTo>
                      <a:pt x="1662" y="3355"/>
                    </a:lnTo>
                    <a:lnTo>
                      <a:pt x="1644" y="3367"/>
                    </a:lnTo>
                    <a:lnTo>
                      <a:pt x="1625" y="3377"/>
                    </a:lnTo>
                    <a:lnTo>
                      <a:pt x="1605" y="3385"/>
                    </a:lnTo>
                    <a:lnTo>
                      <a:pt x="1585" y="3392"/>
                    </a:lnTo>
                    <a:lnTo>
                      <a:pt x="1579" y="3394"/>
                    </a:lnTo>
                    <a:lnTo>
                      <a:pt x="1558" y="3399"/>
                    </a:lnTo>
                    <a:lnTo>
                      <a:pt x="1535" y="3402"/>
                    </a:lnTo>
                    <a:lnTo>
                      <a:pt x="1528" y="3402"/>
                    </a:lnTo>
                    <a:lnTo>
                      <a:pt x="1506" y="3403"/>
                    </a:lnTo>
                    <a:lnTo>
                      <a:pt x="254" y="3403"/>
                    </a:lnTo>
                    <a:lnTo>
                      <a:pt x="232" y="3402"/>
                    </a:lnTo>
                    <a:lnTo>
                      <a:pt x="225" y="3402"/>
                    </a:lnTo>
                    <a:lnTo>
                      <a:pt x="202" y="3399"/>
                    </a:lnTo>
                    <a:lnTo>
                      <a:pt x="181" y="3394"/>
                    </a:lnTo>
                    <a:lnTo>
                      <a:pt x="175" y="3392"/>
                    </a:lnTo>
                    <a:lnTo>
                      <a:pt x="155" y="3385"/>
                    </a:lnTo>
                    <a:lnTo>
                      <a:pt x="135" y="3377"/>
                    </a:lnTo>
                    <a:lnTo>
                      <a:pt x="116" y="3367"/>
                    </a:lnTo>
                    <a:lnTo>
                      <a:pt x="99" y="3355"/>
                    </a:lnTo>
                    <a:lnTo>
                      <a:pt x="90" y="3349"/>
                    </a:lnTo>
                    <a:lnTo>
                      <a:pt x="74" y="3337"/>
                    </a:lnTo>
                    <a:lnTo>
                      <a:pt x="60" y="3322"/>
                    </a:lnTo>
                    <a:lnTo>
                      <a:pt x="46" y="3306"/>
                    </a:lnTo>
                    <a:lnTo>
                      <a:pt x="35" y="3290"/>
                    </a:lnTo>
                    <a:lnTo>
                      <a:pt x="29" y="3282"/>
                    </a:lnTo>
                    <a:lnTo>
                      <a:pt x="19" y="3264"/>
                    </a:lnTo>
                    <a:lnTo>
                      <a:pt x="12" y="3245"/>
                    </a:lnTo>
                    <a:lnTo>
                      <a:pt x="10" y="3240"/>
                    </a:lnTo>
                    <a:lnTo>
                      <a:pt x="5" y="3221"/>
                    </a:lnTo>
                    <a:lnTo>
                      <a:pt x="2" y="3201"/>
                    </a:lnTo>
                    <a:lnTo>
                      <a:pt x="1" y="3195"/>
                    </a:lnTo>
                    <a:lnTo>
                      <a:pt x="0" y="3175"/>
                    </a:lnTo>
                    <a:lnTo>
                      <a:pt x="0" y="2500"/>
                    </a:lnTo>
                    <a:lnTo>
                      <a:pt x="56" y="2500"/>
                    </a:lnTo>
                    <a:lnTo>
                      <a:pt x="56" y="3175"/>
                    </a:lnTo>
                    <a:lnTo>
                      <a:pt x="57" y="3189"/>
                    </a:lnTo>
                    <a:lnTo>
                      <a:pt x="57" y="3189"/>
                    </a:lnTo>
                    <a:lnTo>
                      <a:pt x="60" y="3210"/>
                    </a:lnTo>
                    <a:lnTo>
                      <a:pt x="64" y="3223"/>
                    </a:lnTo>
                    <a:lnTo>
                      <a:pt x="64" y="3223"/>
                    </a:lnTo>
                    <a:lnTo>
                      <a:pt x="71" y="3242"/>
                    </a:lnTo>
                    <a:lnTo>
                      <a:pt x="80" y="3259"/>
                    </a:lnTo>
                    <a:lnTo>
                      <a:pt x="86" y="3267"/>
                    </a:lnTo>
                    <a:lnTo>
                      <a:pt x="99" y="3283"/>
                    </a:lnTo>
                    <a:lnTo>
                      <a:pt x="114" y="3297"/>
                    </a:lnTo>
                    <a:lnTo>
                      <a:pt x="125" y="3305"/>
                    </a:lnTo>
                    <a:lnTo>
                      <a:pt x="138" y="3315"/>
                    </a:lnTo>
                    <a:lnTo>
                      <a:pt x="157" y="3325"/>
                    </a:lnTo>
                    <a:lnTo>
                      <a:pt x="176" y="3333"/>
                    </a:lnTo>
                    <a:lnTo>
                      <a:pt x="197" y="3340"/>
                    </a:lnTo>
                    <a:lnTo>
                      <a:pt x="197" y="3340"/>
                    </a:lnTo>
                    <a:lnTo>
                      <a:pt x="214" y="3344"/>
                    </a:lnTo>
                    <a:lnTo>
                      <a:pt x="232" y="3346"/>
                    </a:lnTo>
                    <a:lnTo>
                      <a:pt x="232" y="3346"/>
                    </a:lnTo>
                    <a:lnTo>
                      <a:pt x="254" y="3347"/>
                    </a:lnTo>
                    <a:lnTo>
                      <a:pt x="1506" y="3347"/>
                    </a:lnTo>
                    <a:lnTo>
                      <a:pt x="1528" y="3346"/>
                    </a:lnTo>
                    <a:lnTo>
                      <a:pt x="1528" y="3346"/>
                    </a:lnTo>
                    <a:lnTo>
                      <a:pt x="1546" y="3344"/>
                    </a:lnTo>
                    <a:lnTo>
                      <a:pt x="1563" y="3340"/>
                    </a:lnTo>
                    <a:lnTo>
                      <a:pt x="1563" y="3340"/>
                    </a:lnTo>
                    <a:lnTo>
                      <a:pt x="1584" y="3333"/>
                    </a:lnTo>
                    <a:lnTo>
                      <a:pt x="1603" y="3325"/>
                    </a:lnTo>
                    <a:lnTo>
                      <a:pt x="1622" y="3315"/>
                    </a:lnTo>
                    <a:lnTo>
                      <a:pt x="1632" y="3309"/>
                    </a:lnTo>
                    <a:lnTo>
                      <a:pt x="1647" y="3297"/>
                    </a:lnTo>
                    <a:lnTo>
                      <a:pt x="1662" y="3283"/>
                    </a:lnTo>
                    <a:lnTo>
                      <a:pt x="1675" y="3267"/>
                    </a:lnTo>
                    <a:lnTo>
                      <a:pt x="1681" y="3259"/>
                    </a:lnTo>
                    <a:lnTo>
                      <a:pt x="1690" y="3242"/>
                    </a:lnTo>
                    <a:lnTo>
                      <a:pt x="1697" y="3223"/>
                    </a:lnTo>
                    <a:lnTo>
                      <a:pt x="1697" y="3223"/>
                    </a:lnTo>
                    <a:lnTo>
                      <a:pt x="1701" y="3210"/>
                    </a:lnTo>
                    <a:lnTo>
                      <a:pt x="1704" y="3189"/>
                    </a:lnTo>
                    <a:lnTo>
                      <a:pt x="1704" y="3189"/>
                    </a:lnTo>
                    <a:lnTo>
                      <a:pt x="1705" y="3175"/>
                    </a:lnTo>
                    <a:lnTo>
                      <a:pt x="1705" y="228"/>
                    </a:lnTo>
                    <a:lnTo>
                      <a:pt x="1704" y="214"/>
                    </a:lnTo>
                    <a:lnTo>
                      <a:pt x="1704" y="214"/>
                    </a:lnTo>
                    <a:lnTo>
                      <a:pt x="1701" y="194"/>
                    </a:lnTo>
                    <a:lnTo>
                      <a:pt x="1697" y="179"/>
                    </a:lnTo>
                    <a:lnTo>
                      <a:pt x="1697" y="179"/>
                    </a:lnTo>
                    <a:lnTo>
                      <a:pt x="1690" y="161"/>
                    </a:lnTo>
                    <a:lnTo>
                      <a:pt x="1681" y="144"/>
                    </a:lnTo>
                    <a:lnTo>
                      <a:pt x="1675" y="136"/>
                    </a:lnTo>
                    <a:lnTo>
                      <a:pt x="1662" y="120"/>
                    </a:lnTo>
                    <a:lnTo>
                      <a:pt x="1647" y="106"/>
                    </a:lnTo>
                    <a:lnTo>
                      <a:pt x="1632" y="94"/>
                    </a:lnTo>
                    <a:lnTo>
                      <a:pt x="1622" y="88"/>
                    </a:lnTo>
                    <a:lnTo>
                      <a:pt x="1603" y="78"/>
                    </a:lnTo>
                    <a:lnTo>
                      <a:pt x="1584" y="69"/>
                    </a:lnTo>
                    <a:lnTo>
                      <a:pt x="1563" y="63"/>
                    </a:lnTo>
                    <a:lnTo>
                      <a:pt x="1563" y="63"/>
                    </a:lnTo>
                    <a:lnTo>
                      <a:pt x="1546" y="59"/>
                    </a:lnTo>
                    <a:lnTo>
                      <a:pt x="1523" y="57"/>
                    </a:lnTo>
                    <a:lnTo>
                      <a:pt x="1523" y="57"/>
                    </a:lnTo>
                    <a:lnTo>
                      <a:pt x="1506" y="56"/>
                    </a:lnTo>
                    <a:lnTo>
                      <a:pt x="254" y="56"/>
                    </a:lnTo>
                    <a:lnTo>
                      <a:pt x="237" y="57"/>
                    </a:lnTo>
                    <a:lnTo>
                      <a:pt x="237" y="57"/>
                    </a:lnTo>
                    <a:lnTo>
                      <a:pt x="214" y="59"/>
                    </a:lnTo>
                    <a:lnTo>
                      <a:pt x="197" y="63"/>
                    </a:lnTo>
                    <a:lnTo>
                      <a:pt x="197" y="63"/>
                    </a:lnTo>
                    <a:lnTo>
                      <a:pt x="176" y="69"/>
                    </a:lnTo>
                    <a:lnTo>
                      <a:pt x="157" y="78"/>
                    </a:lnTo>
                    <a:lnTo>
                      <a:pt x="138" y="88"/>
                    </a:lnTo>
                    <a:lnTo>
                      <a:pt x="125" y="97"/>
                    </a:lnTo>
                    <a:lnTo>
                      <a:pt x="114" y="106"/>
                    </a:lnTo>
                    <a:lnTo>
                      <a:pt x="99" y="120"/>
                    </a:lnTo>
                    <a:lnTo>
                      <a:pt x="86" y="136"/>
                    </a:lnTo>
                    <a:lnTo>
                      <a:pt x="80" y="144"/>
                    </a:lnTo>
                    <a:lnTo>
                      <a:pt x="71" y="161"/>
                    </a:lnTo>
                    <a:lnTo>
                      <a:pt x="64" y="179"/>
                    </a:lnTo>
                    <a:lnTo>
                      <a:pt x="64" y="179"/>
                    </a:lnTo>
                    <a:lnTo>
                      <a:pt x="60" y="194"/>
                    </a:lnTo>
                    <a:lnTo>
                      <a:pt x="57" y="214"/>
                    </a:lnTo>
                    <a:lnTo>
                      <a:pt x="57" y="214"/>
                    </a:lnTo>
                    <a:lnTo>
                      <a:pt x="56" y="228"/>
                    </a:lnTo>
                    <a:lnTo>
                      <a:pt x="56" y="786"/>
                    </a:lnTo>
                    <a:lnTo>
                      <a:pt x="0" y="786"/>
                    </a:lnTo>
                    <a:lnTo>
                      <a:pt x="0" y="228"/>
                    </a:lnTo>
                    <a:lnTo>
                      <a:pt x="1" y="207"/>
                    </a:lnTo>
                    <a:lnTo>
                      <a:pt x="2" y="202"/>
                    </a:lnTo>
                    <a:lnTo>
                      <a:pt x="5" y="183"/>
                    </a:lnTo>
                    <a:lnTo>
                      <a:pt x="10" y="163"/>
                    </a:lnTo>
                    <a:lnTo>
                      <a:pt x="12" y="158"/>
                    </a:lnTo>
                    <a:lnTo>
                      <a:pt x="19" y="139"/>
                    </a:lnTo>
                    <a:lnTo>
                      <a:pt x="29" y="121"/>
                    </a:lnTo>
                    <a:lnTo>
                      <a:pt x="35" y="113"/>
                    </a:lnTo>
                    <a:lnTo>
                      <a:pt x="46" y="96"/>
                    </a:lnTo>
                    <a:lnTo>
                      <a:pt x="60" y="81"/>
                    </a:lnTo>
                    <a:lnTo>
                      <a:pt x="74" y="66"/>
                    </a:lnTo>
                    <a:lnTo>
                      <a:pt x="90" y="54"/>
                    </a:lnTo>
                    <a:lnTo>
                      <a:pt x="99" y="48"/>
                    </a:lnTo>
                    <a:lnTo>
                      <a:pt x="116" y="36"/>
                    </a:lnTo>
                    <a:lnTo>
                      <a:pt x="135" y="26"/>
                    </a:lnTo>
                    <a:lnTo>
                      <a:pt x="155" y="17"/>
                    </a:lnTo>
                    <a:lnTo>
                      <a:pt x="175" y="11"/>
                    </a:lnTo>
                    <a:lnTo>
                      <a:pt x="181" y="9"/>
                    </a:lnTo>
                    <a:lnTo>
                      <a:pt x="202" y="4"/>
                    </a:lnTo>
                    <a:lnTo>
                      <a:pt x="225" y="2"/>
                    </a:lnTo>
                    <a:lnTo>
                      <a:pt x="232" y="1"/>
                    </a:lnTo>
                    <a:lnTo>
                      <a:pt x="25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45" name="Freeform 8"/>
              <p:cNvSpPr>
                <a:spLocks noEditPoints="1"/>
              </p:cNvSpPr>
              <p:nvPr/>
            </p:nvSpPr>
            <p:spPr bwMode="auto">
              <a:xfrm>
                <a:off x="6218374" y="5046825"/>
                <a:ext cx="557213" cy="552450"/>
              </a:xfrm>
              <a:custGeom>
                <a:avLst/>
                <a:gdLst>
                  <a:gd name="T0" fmla="*/ 1020 w 1753"/>
                  <a:gd name="T1" fmla="*/ 1144 h 1742"/>
                  <a:gd name="T2" fmla="*/ 995 w 1753"/>
                  <a:gd name="T3" fmla="*/ 1224 h 1742"/>
                  <a:gd name="T4" fmla="*/ 705 w 1753"/>
                  <a:gd name="T5" fmla="*/ 1168 h 1742"/>
                  <a:gd name="T6" fmla="*/ 1270 w 1753"/>
                  <a:gd name="T7" fmla="*/ 1070 h 1742"/>
                  <a:gd name="T8" fmla="*/ 1302 w 1753"/>
                  <a:gd name="T9" fmla="*/ 1202 h 1742"/>
                  <a:gd name="T10" fmla="*/ 1183 w 1753"/>
                  <a:gd name="T11" fmla="*/ 1261 h 1742"/>
                  <a:gd name="T12" fmla="*/ 1099 w 1753"/>
                  <a:gd name="T13" fmla="*/ 1179 h 1742"/>
                  <a:gd name="T14" fmla="*/ 1157 w 1753"/>
                  <a:gd name="T15" fmla="*/ 1061 h 1742"/>
                  <a:gd name="T16" fmla="*/ 586 w 1753"/>
                  <a:gd name="T17" fmla="*/ 1059 h 1742"/>
                  <a:gd name="T18" fmla="*/ 619 w 1753"/>
                  <a:gd name="T19" fmla="*/ 1191 h 1742"/>
                  <a:gd name="T20" fmla="*/ 504 w 1753"/>
                  <a:gd name="T21" fmla="*/ 1251 h 1742"/>
                  <a:gd name="T22" fmla="*/ 417 w 1753"/>
                  <a:gd name="T23" fmla="*/ 1172 h 1742"/>
                  <a:gd name="T24" fmla="*/ 472 w 1753"/>
                  <a:gd name="T25" fmla="*/ 1049 h 1742"/>
                  <a:gd name="T26" fmla="*/ 1176 w 1753"/>
                  <a:gd name="T27" fmla="*/ 847 h 1742"/>
                  <a:gd name="T28" fmla="*/ 1157 w 1753"/>
                  <a:gd name="T29" fmla="*/ 978 h 1742"/>
                  <a:gd name="T30" fmla="*/ 1012 w 1753"/>
                  <a:gd name="T31" fmla="*/ 655 h 1742"/>
                  <a:gd name="T32" fmla="*/ 826 w 1753"/>
                  <a:gd name="T33" fmla="*/ 611 h 1742"/>
                  <a:gd name="T34" fmla="*/ 784 w 1753"/>
                  <a:gd name="T35" fmla="*/ 715 h 1742"/>
                  <a:gd name="T36" fmla="*/ 575 w 1753"/>
                  <a:gd name="T37" fmla="*/ 969 h 1742"/>
                  <a:gd name="T38" fmla="*/ 759 w 1753"/>
                  <a:gd name="T39" fmla="*/ 622 h 1742"/>
                  <a:gd name="T40" fmla="*/ 1038 w 1753"/>
                  <a:gd name="T41" fmla="*/ 410 h 1742"/>
                  <a:gd name="T42" fmla="*/ 1040 w 1753"/>
                  <a:gd name="T43" fmla="*/ 544 h 1742"/>
                  <a:gd name="T44" fmla="*/ 910 w 1753"/>
                  <a:gd name="T45" fmla="*/ 576 h 1742"/>
                  <a:gd name="T46" fmla="*/ 848 w 1753"/>
                  <a:gd name="T47" fmla="*/ 480 h 1742"/>
                  <a:gd name="T48" fmla="*/ 929 w 1753"/>
                  <a:gd name="T49" fmla="*/ 375 h 1742"/>
                  <a:gd name="T50" fmla="*/ 658 w 1753"/>
                  <a:gd name="T51" fmla="*/ 158 h 1742"/>
                  <a:gd name="T52" fmla="*/ 872 w 1753"/>
                  <a:gd name="T53" fmla="*/ 313 h 1742"/>
                  <a:gd name="T54" fmla="*/ 683 w 1753"/>
                  <a:gd name="T55" fmla="*/ 258 h 1742"/>
                  <a:gd name="T56" fmla="*/ 398 w 1753"/>
                  <a:gd name="T57" fmla="*/ 298 h 1742"/>
                  <a:gd name="T58" fmla="*/ 185 w 1753"/>
                  <a:gd name="T59" fmla="*/ 580 h 1742"/>
                  <a:gd name="T60" fmla="*/ 127 w 1753"/>
                  <a:gd name="T61" fmla="*/ 892 h 1742"/>
                  <a:gd name="T62" fmla="*/ 314 w 1753"/>
                  <a:gd name="T63" fmla="*/ 1033 h 1742"/>
                  <a:gd name="T64" fmla="*/ 236 w 1753"/>
                  <a:gd name="T65" fmla="*/ 1080 h 1742"/>
                  <a:gd name="T66" fmla="*/ 156 w 1753"/>
                  <a:gd name="T67" fmla="*/ 1079 h 1742"/>
                  <a:gd name="T68" fmla="*/ 333 w 1753"/>
                  <a:gd name="T69" fmla="*/ 1385 h 1742"/>
                  <a:gd name="T70" fmla="*/ 491 w 1753"/>
                  <a:gd name="T71" fmla="*/ 1327 h 1742"/>
                  <a:gd name="T72" fmla="*/ 619 w 1753"/>
                  <a:gd name="T73" fmla="*/ 1572 h 1742"/>
                  <a:gd name="T74" fmla="*/ 996 w 1753"/>
                  <a:gd name="T75" fmla="*/ 1607 h 1742"/>
                  <a:gd name="T76" fmla="*/ 1159 w 1753"/>
                  <a:gd name="T77" fmla="*/ 1433 h 1742"/>
                  <a:gd name="T78" fmla="*/ 1251 w 1753"/>
                  <a:gd name="T79" fmla="*/ 1337 h 1742"/>
                  <a:gd name="T80" fmla="*/ 1310 w 1753"/>
                  <a:gd name="T81" fmla="*/ 1478 h 1742"/>
                  <a:gd name="T82" fmla="*/ 1535 w 1753"/>
                  <a:gd name="T83" fmla="*/ 1226 h 1742"/>
                  <a:gd name="T84" fmla="*/ 1530 w 1753"/>
                  <a:gd name="T85" fmla="*/ 1076 h 1742"/>
                  <a:gd name="T86" fmla="*/ 1369 w 1753"/>
                  <a:gd name="T87" fmla="*/ 1068 h 1742"/>
                  <a:gd name="T88" fmla="*/ 1626 w 1753"/>
                  <a:gd name="T89" fmla="*/ 899 h 1742"/>
                  <a:gd name="T90" fmla="*/ 1577 w 1753"/>
                  <a:gd name="T91" fmla="*/ 605 h 1742"/>
                  <a:gd name="T92" fmla="*/ 1359 w 1753"/>
                  <a:gd name="T93" fmla="*/ 300 h 1742"/>
                  <a:gd name="T94" fmla="*/ 1097 w 1753"/>
                  <a:gd name="T95" fmla="*/ 359 h 1742"/>
                  <a:gd name="T96" fmla="*/ 1172 w 1753"/>
                  <a:gd name="T97" fmla="*/ 187 h 1742"/>
                  <a:gd name="T98" fmla="*/ 863 w 1753"/>
                  <a:gd name="T99" fmla="*/ 0 h 1742"/>
                  <a:gd name="T100" fmla="*/ 1283 w 1753"/>
                  <a:gd name="T101" fmla="*/ 99 h 1742"/>
                  <a:gd name="T102" fmla="*/ 1600 w 1753"/>
                  <a:gd name="T103" fmla="*/ 377 h 1742"/>
                  <a:gd name="T104" fmla="*/ 1749 w 1753"/>
                  <a:gd name="T105" fmla="*/ 783 h 1742"/>
                  <a:gd name="T106" fmla="*/ 1685 w 1753"/>
                  <a:gd name="T107" fmla="*/ 1212 h 1742"/>
                  <a:gd name="T108" fmla="*/ 1431 w 1753"/>
                  <a:gd name="T109" fmla="*/ 1548 h 1742"/>
                  <a:gd name="T110" fmla="*/ 1040 w 1753"/>
                  <a:gd name="T111" fmla="*/ 1727 h 1742"/>
                  <a:gd name="T112" fmla="*/ 600 w 1753"/>
                  <a:gd name="T113" fmla="*/ 1699 h 1742"/>
                  <a:gd name="T114" fmla="*/ 243 w 1753"/>
                  <a:gd name="T115" fmla="*/ 1475 h 1742"/>
                  <a:gd name="T116" fmla="*/ 31 w 1753"/>
                  <a:gd name="T117" fmla="*/ 1106 h 1742"/>
                  <a:gd name="T118" fmla="*/ 24 w 1753"/>
                  <a:gd name="T119" fmla="*/ 665 h 1742"/>
                  <a:gd name="T120" fmla="*/ 219 w 1753"/>
                  <a:gd name="T121" fmla="*/ 294 h 1742"/>
                  <a:gd name="T122" fmla="*/ 571 w 1753"/>
                  <a:gd name="T123" fmla="*/ 54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3" h="1742">
                    <a:moveTo>
                      <a:pt x="707" y="1138"/>
                    </a:moveTo>
                    <a:lnTo>
                      <a:pt x="789" y="1145"/>
                    </a:lnTo>
                    <a:lnTo>
                      <a:pt x="874" y="1148"/>
                    </a:lnTo>
                    <a:lnTo>
                      <a:pt x="957" y="1147"/>
                    </a:lnTo>
                    <a:lnTo>
                      <a:pt x="989" y="1146"/>
                    </a:lnTo>
                    <a:lnTo>
                      <a:pt x="1020" y="1144"/>
                    </a:lnTo>
                    <a:lnTo>
                      <a:pt x="1019" y="1149"/>
                    </a:lnTo>
                    <a:lnTo>
                      <a:pt x="1018" y="1154"/>
                    </a:lnTo>
                    <a:lnTo>
                      <a:pt x="1018" y="1161"/>
                    </a:lnTo>
                    <a:lnTo>
                      <a:pt x="1022" y="1191"/>
                    </a:lnTo>
                    <a:lnTo>
                      <a:pt x="1030" y="1221"/>
                    </a:lnTo>
                    <a:lnTo>
                      <a:pt x="995" y="1224"/>
                    </a:lnTo>
                    <a:lnTo>
                      <a:pt x="959" y="1226"/>
                    </a:lnTo>
                    <a:lnTo>
                      <a:pt x="869" y="1226"/>
                    </a:lnTo>
                    <a:lnTo>
                      <a:pt x="782" y="1223"/>
                    </a:lnTo>
                    <a:lnTo>
                      <a:pt x="694" y="1215"/>
                    </a:lnTo>
                    <a:lnTo>
                      <a:pt x="701" y="1192"/>
                    </a:lnTo>
                    <a:lnTo>
                      <a:pt x="705" y="1168"/>
                    </a:lnTo>
                    <a:lnTo>
                      <a:pt x="707" y="1143"/>
                    </a:lnTo>
                    <a:lnTo>
                      <a:pt x="707" y="1138"/>
                    </a:lnTo>
                    <a:close/>
                    <a:moveTo>
                      <a:pt x="1204" y="1049"/>
                    </a:moveTo>
                    <a:lnTo>
                      <a:pt x="1227" y="1052"/>
                    </a:lnTo>
                    <a:lnTo>
                      <a:pt x="1250" y="1059"/>
                    </a:lnTo>
                    <a:lnTo>
                      <a:pt x="1270" y="1070"/>
                    </a:lnTo>
                    <a:lnTo>
                      <a:pt x="1288" y="1087"/>
                    </a:lnTo>
                    <a:lnTo>
                      <a:pt x="1301" y="1107"/>
                    </a:lnTo>
                    <a:lnTo>
                      <a:pt x="1309" y="1129"/>
                    </a:lnTo>
                    <a:lnTo>
                      <a:pt x="1313" y="1155"/>
                    </a:lnTo>
                    <a:lnTo>
                      <a:pt x="1310" y="1180"/>
                    </a:lnTo>
                    <a:lnTo>
                      <a:pt x="1302" y="1202"/>
                    </a:lnTo>
                    <a:lnTo>
                      <a:pt x="1290" y="1223"/>
                    </a:lnTo>
                    <a:lnTo>
                      <a:pt x="1273" y="1239"/>
                    </a:lnTo>
                    <a:lnTo>
                      <a:pt x="1254" y="1252"/>
                    </a:lnTo>
                    <a:lnTo>
                      <a:pt x="1231" y="1261"/>
                    </a:lnTo>
                    <a:lnTo>
                      <a:pt x="1207" y="1264"/>
                    </a:lnTo>
                    <a:lnTo>
                      <a:pt x="1183" y="1261"/>
                    </a:lnTo>
                    <a:lnTo>
                      <a:pt x="1160" y="1254"/>
                    </a:lnTo>
                    <a:lnTo>
                      <a:pt x="1140" y="1242"/>
                    </a:lnTo>
                    <a:lnTo>
                      <a:pt x="1125" y="1229"/>
                    </a:lnTo>
                    <a:lnTo>
                      <a:pt x="1114" y="1215"/>
                    </a:lnTo>
                    <a:lnTo>
                      <a:pt x="1105" y="1198"/>
                    </a:lnTo>
                    <a:lnTo>
                      <a:pt x="1099" y="1179"/>
                    </a:lnTo>
                    <a:lnTo>
                      <a:pt x="1097" y="1158"/>
                    </a:lnTo>
                    <a:lnTo>
                      <a:pt x="1099" y="1134"/>
                    </a:lnTo>
                    <a:lnTo>
                      <a:pt x="1108" y="1111"/>
                    </a:lnTo>
                    <a:lnTo>
                      <a:pt x="1120" y="1091"/>
                    </a:lnTo>
                    <a:lnTo>
                      <a:pt x="1137" y="1074"/>
                    </a:lnTo>
                    <a:lnTo>
                      <a:pt x="1157" y="1061"/>
                    </a:lnTo>
                    <a:lnTo>
                      <a:pt x="1179" y="1053"/>
                    </a:lnTo>
                    <a:lnTo>
                      <a:pt x="1204" y="1049"/>
                    </a:lnTo>
                    <a:close/>
                    <a:moveTo>
                      <a:pt x="520" y="1038"/>
                    </a:moveTo>
                    <a:lnTo>
                      <a:pt x="544" y="1041"/>
                    </a:lnTo>
                    <a:lnTo>
                      <a:pt x="566" y="1047"/>
                    </a:lnTo>
                    <a:lnTo>
                      <a:pt x="586" y="1059"/>
                    </a:lnTo>
                    <a:lnTo>
                      <a:pt x="603" y="1075"/>
                    </a:lnTo>
                    <a:lnTo>
                      <a:pt x="617" y="1095"/>
                    </a:lnTo>
                    <a:lnTo>
                      <a:pt x="625" y="1119"/>
                    </a:lnTo>
                    <a:lnTo>
                      <a:pt x="629" y="1144"/>
                    </a:lnTo>
                    <a:lnTo>
                      <a:pt x="626" y="1168"/>
                    </a:lnTo>
                    <a:lnTo>
                      <a:pt x="619" y="1191"/>
                    </a:lnTo>
                    <a:lnTo>
                      <a:pt x="606" y="1210"/>
                    </a:lnTo>
                    <a:lnTo>
                      <a:pt x="590" y="1227"/>
                    </a:lnTo>
                    <a:lnTo>
                      <a:pt x="570" y="1241"/>
                    </a:lnTo>
                    <a:lnTo>
                      <a:pt x="547" y="1249"/>
                    </a:lnTo>
                    <a:lnTo>
                      <a:pt x="523" y="1252"/>
                    </a:lnTo>
                    <a:lnTo>
                      <a:pt x="504" y="1251"/>
                    </a:lnTo>
                    <a:lnTo>
                      <a:pt x="488" y="1247"/>
                    </a:lnTo>
                    <a:lnTo>
                      <a:pt x="471" y="1241"/>
                    </a:lnTo>
                    <a:lnTo>
                      <a:pt x="457" y="1231"/>
                    </a:lnTo>
                    <a:lnTo>
                      <a:pt x="439" y="1215"/>
                    </a:lnTo>
                    <a:lnTo>
                      <a:pt x="425" y="1195"/>
                    </a:lnTo>
                    <a:lnTo>
                      <a:pt x="417" y="1172"/>
                    </a:lnTo>
                    <a:lnTo>
                      <a:pt x="413" y="1147"/>
                    </a:lnTo>
                    <a:lnTo>
                      <a:pt x="416" y="1122"/>
                    </a:lnTo>
                    <a:lnTo>
                      <a:pt x="423" y="1099"/>
                    </a:lnTo>
                    <a:lnTo>
                      <a:pt x="436" y="1080"/>
                    </a:lnTo>
                    <a:lnTo>
                      <a:pt x="452" y="1062"/>
                    </a:lnTo>
                    <a:lnTo>
                      <a:pt x="472" y="1049"/>
                    </a:lnTo>
                    <a:lnTo>
                      <a:pt x="495" y="1041"/>
                    </a:lnTo>
                    <a:lnTo>
                      <a:pt x="520" y="1038"/>
                    </a:lnTo>
                    <a:close/>
                    <a:moveTo>
                      <a:pt x="1080" y="614"/>
                    </a:moveTo>
                    <a:lnTo>
                      <a:pt x="1116" y="690"/>
                    </a:lnTo>
                    <a:lnTo>
                      <a:pt x="1148" y="768"/>
                    </a:lnTo>
                    <a:lnTo>
                      <a:pt x="1176" y="847"/>
                    </a:lnTo>
                    <a:lnTo>
                      <a:pt x="1201" y="926"/>
                    </a:lnTo>
                    <a:lnTo>
                      <a:pt x="1206" y="949"/>
                    </a:lnTo>
                    <a:lnTo>
                      <a:pt x="1212" y="973"/>
                    </a:lnTo>
                    <a:lnTo>
                      <a:pt x="1202" y="973"/>
                    </a:lnTo>
                    <a:lnTo>
                      <a:pt x="1178" y="974"/>
                    </a:lnTo>
                    <a:lnTo>
                      <a:pt x="1157" y="978"/>
                    </a:lnTo>
                    <a:lnTo>
                      <a:pt x="1135" y="985"/>
                    </a:lnTo>
                    <a:lnTo>
                      <a:pt x="1125" y="947"/>
                    </a:lnTo>
                    <a:lnTo>
                      <a:pt x="1102" y="872"/>
                    </a:lnTo>
                    <a:lnTo>
                      <a:pt x="1075" y="798"/>
                    </a:lnTo>
                    <a:lnTo>
                      <a:pt x="1045" y="725"/>
                    </a:lnTo>
                    <a:lnTo>
                      <a:pt x="1012" y="655"/>
                    </a:lnTo>
                    <a:lnTo>
                      <a:pt x="1037" y="644"/>
                    </a:lnTo>
                    <a:lnTo>
                      <a:pt x="1060" y="631"/>
                    </a:lnTo>
                    <a:lnTo>
                      <a:pt x="1080" y="614"/>
                    </a:lnTo>
                    <a:close/>
                    <a:moveTo>
                      <a:pt x="799" y="578"/>
                    </a:moveTo>
                    <a:lnTo>
                      <a:pt x="811" y="595"/>
                    </a:lnTo>
                    <a:lnTo>
                      <a:pt x="826" y="611"/>
                    </a:lnTo>
                    <a:lnTo>
                      <a:pt x="845" y="626"/>
                    </a:lnTo>
                    <a:lnTo>
                      <a:pt x="848" y="629"/>
                    </a:lnTo>
                    <a:lnTo>
                      <a:pt x="851" y="631"/>
                    </a:lnTo>
                    <a:lnTo>
                      <a:pt x="854" y="632"/>
                    </a:lnTo>
                    <a:lnTo>
                      <a:pt x="819" y="674"/>
                    </a:lnTo>
                    <a:lnTo>
                      <a:pt x="784" y="715"/>
                    </a:lnTo>
                    <a:lnTo>
                      <a:pt x="738" y="781"/>
                    </a:lnTo>
                    <a:lnTo>
                      <a:pt x="697" y="849"/>
                    </a:lnTo>
                    <a:lnTo>
                      <a:pt x="657" y="919"/>
                    </a:lnTo>
                    <a:lnTo>
                      <a:pt x="623" y="990"/>
                    </a:lnTo>
                    <a:lnTo>
                      <a:pt x="600" y="977"/>
                    </a:lnTo>
                    <a:lnTo>
                      <a:pt x="575" y="969"/>
                    </a:lnTo>
                    <a:lnTo>
                      <a:pt x="549" y="962"/>
                    </a:lnTo>
                    <a:lnTo>
                      <a:pt x="586" y="885"/>
                    </a:lnTo>
                    <a:lnTo>
                      <a:pt x="627" y="811"/>
                    </a:lnTo>
                    <a:lnTo>
                      <a:pt x="673" y="738"/>
                    </a:lnTo>
                    <a:lnTo>
                      <a:pt x="723" y="670"/>
                    </a:lnTo>
                    <a:lnTo>
                      <a:pt x="759" y="622"/>
                    </a:lnTo>
                    <a:lnTo>
                      <a:pt x="799" y="578"/>
                    </a:lnTo>
                    <a:close/>
                    <a:moveTo>
                      <a:pt x="954" y="371"/>
                    </a:moveTo>
                    <a:lnTo>
                      <a:pt x="978" y="374"/>
                    </a:lnTo>
                    <a:lnTo>
                      <a:pt x="999" y="381"/>
                    </a:lnTo>
                    <a:lnTo>
                      <a:pt x="1020" y="393"/>
                    </a:lnTo>
                    <a:lnTo>
                      <a:pt x="1038" y="410"/>
                    </a:lnTo>
                    <a:lnTo>
                      <a:pt x="1050" y="430"/>
                    </a:lnTo>
                    <a:lnTo>
                      <a:pt x="1060" y="453"/>
                    </a:lnTo>
                    <a:lnTo>
                      <a:pt x="1064" y="476"/>
                    </a:lnTo>
                    <a:lnTo>
                      <a:pt x="1061" y="501"/>
                    </a:lnTo>
                    <a:lnTo>
                      <a:pt x="1053" y="524"/>
                    </a:lnTo>
                    <a:lnTo>
                      <a:pt x="1040" y="544"/>
                    </a:lnTo>
                    <a:lnTo>
                      <a:pt x="1024" y="560"/>
                    </a:lnTo>
                    <a:lnTo>
                      <a:pt x="1005" y="574"/>
                    </a:lnTo>
                    <a:lnTo>
                      <a:pt x="982" y="582"/>
                    </a:lnTo>
                    <a:lnTo>
                      <a:pt x="957" y="585"/>
                    </a:lnTo>
                    <a:lnTo>
                      <a:pt x="933" y="583"/>
                    </a:lnTo>
                    <a:lnTo>
                      <a:pt x="910" y="576"/>
                    </a:lnTo>
                    <a:lnTo>
                      <a:pt x="891" y="565"/>
                    </a:lnTo>
                    <a:lnTo>
                      <a:pt x="877" y="552"/>
                    </a:lnTo>
                    <a:lnTo>
                      <a:pt x="864" y="537"/>
                    </a:lnTo>
                    <a:lnTo>
                      <a:pt x="855" y="520"/>
                    </a:lnTo>
                    <a:lnTo>
                      <a:pt x="850" y="500"/>
                    </a:lnTo>
                    <a:lnTo>
                      <a:pt x="848" y="480"/>
                    </a:lnTo>
                    <a:lnTo>
                      <a:pt x="850" y="456"/>
                    </a:lnTo>
                    <a:lnTo>
                      <a:pt x="857" y="433"/>
                    </a:lnTo>
                    <a:lnTo>
                      <a:pt x="869" y="412"/>
                    </a:lnTo>
                    <a:lnTo>
                      <a:pt x="886" y="395"/>
                    </a:lnTo>
                    <a:lnTo>
                      <a:pt x="906" y="383"/>
                    </a:lnTo>
                    <a:lnTo>
                      <a:pt x="929" y="375"/>
                    </a:lnTo>
                    <a:lnTo>
                      <a:pt x="954" y="371"/>
                    </a:lnTo>
                    <a:close/>
                    <a:moveTo>
                      <a:pt x="865" y="127"/>
                    </a:moveTo>
                    <a:lnTo>
                      <a:pt x="812" y="129"/>
                    </a:lnTo>
                    <a:lnTo>
                      <a:pt x="760" y="135"/>
                    </a:lnTo>
                    <a:lnTo>
                      <a:pt x="708" y="144"/>
                    </a:lnTo>
                    <a:lnTo>
                      <a:pt x="658" y="158"/>
                    </a:lnTo>
                    <a:lnTo>
                      <a:pt x="698" y="177"/>
                    </a:lnTo>
                    <a:lnTo>
                      <a:pt x="735" y="200"/>
                    </a:lnTo>
                    <a:lnTo>
                      <a:pt x="773" y="226"/>
                    </a:lnTo>
                    <a:lnTo>
                      <a:pt x="807" y="253"/>
                    </a:lnTo>
                    <a:lnTo>
                      <a:pt x="840" y="282"/>
                    </a:lnTo>
                    <a:lnTo>
                      <a:pt x="872" y="313"/>
                    </a:lnTo>
                    <a:lnTo>
                      <a:pt x="849" y="327"/>
                    </a:lnTo>
                    <a:lnTo>
                      <a:pt x="828" y="344"/>
                    </a:lnTo>
                    <a:lnTo>
                      <a:pt x="810" y="363"/>
                    </a:lnTo>
                    <a:lnTo>
                      <a:pt x="769" y="323"/>
                    </a:lnTo>
                    <a:lnTo>
                      <a:pt x="726" y="287"/>
                    </a:lnTo>
                    <a:lnTo>
                      <a:pt x="683" y="258"/>
                    </a:lnTo>
                    <a:lnTo>
                      <a:pt x="640" y="235"/>
                    </a:lnTo>
                    <a:lnTo>
                      <a:pt x="594" y="215"/>
                    </a:lnTo>
                    <a:lnTo>
                      <a:pt x="549" y="201"/>
                    </a:lnTo>
                    <a:lnTo>
                      <a:pt x="496" y="229"/>
                    </a:lnTo>
                    <a:lnTo>
                      <a:pt x="445" y="261"/>
                    </a:lnTo>
                    <a:lnTo>
                      <a:pt x="398" y="298"/>
                    </a:lnTo>
                    <a:lnTo>
                      <a:pt x="354" y="337"/>
                    </a:lnTo>
                    <a:lnTo>
                      <a:pt x="313" y="380"/>
                    </a:lnTo>
                    <a:lnTo>
                      <a:pt x="276" y="426"/>
                    </a:lnTo>
                    <a:lnTo>
                      <a:pt x="241" y="474"/>
                    </a:lnTo>
                    <a:lnTo>
                      <a:pt x="211" y="526"/>
                    </a:lnTo>
                    <a:lnTo>
                      <a:pt x="185" y="580"/>
                    </a:lnTo>
                    <a:lnTo>
                      <a:pt x="163" y="637"/>
                    </a:lnTo>
                    <a:lnTo>
                      <a:pt x="147" y="695"/>
                    </a:lnTo>
                    <a:lnTo>
                      <a:pt x="135" y="757"/>
                    </a:lnTo>
                    <a:lnTo>
                      <a:pt x="128" y="819"/>
                    </a:lnTo>
                    <a:lnTo>
                      <a:pt x="126" y="882"/>
                    </a:lnTo>
                    <a:lnTo>
                      <a:pt x="127" y="892"/>
                    </a:lnTo>
                    <a:lnTo>
                      <a:pt x="127" y="902"/>
                    </a:lnTo>
                    <a:lnTo>
                      <a:pt x="158" y="932"/>
                    </a:lnTo>
                    <a:lnTo>
                      <a:pt x="193" y="961"/>
                    </a:lnTo>
                    <a:lnTo>
                      <a:pt x="230" y="987"/>
                    </a:lnTo>
                    <a:lnTo>
                      <a:pt x="270" y="1010"/>
                    </a:lnTo>
                    <a:lnTo>
                      <a:pt x="314" y="1033"/>
                    </a:lnTo>
                    <a:lnTo>
                      <a:pt x="361" y="1053"/>
                    </a:lnTo>
                    <a:lnTo>
                      <a:pt x="349" y="1076"/>
                    </a:lnTo>
                    <a:lnTo>
                      <a:pt x="341" y="1100"/>
                    </a:lnTo>
                    <a:lnTo>
                      <a:pt x="337" y="1126"/>
                    </a:lnTo>
                    <a:lnTo>
                      <a:pt x="285" y="1105"/>
                    </a:lnTo>
                    <a:lnTo>
                      <a:pt x="236" y="1080"/>
                    </a:lnTo>
                    <a:lnTo>
                      <a:pt x="189" y="1053"/>
                    </a:lnTo>
                    <a:lnTo>
                      <a:pt x="147" y="1022"/>
                    </a:lnTo>
                    <a:lnTo>
                      <a:pt x="145" y="1021"/>
                    </a:lnTo>
                    <a:lnTo>
                      <a:pt x="144" y="1020"/>
                    </a:lnTo>
                    <a:lnTo>
                      <a:pt x="141" y="1018"/>
                    </a:lnTo>
                    <a:lnTo>
                      <a:pt x="156" y="1079"/>
                    </a:lnTo>
                    <a:lnTo>
                      <a:pt x="175" y="1136"/>
                    </a:lnTo>
                    <a:lnTo>
                      <a:pt x="199" y="1191"/>
                    </a:lnTo>
                    <a:lnTo>
                      <a:pt x="227" y="1244"/>
                    </a:lnTo>
                    <a:lnTo>
                      <a:pt x="259" y="1293"/>
                    </a:lnTo>
                    <a:lnTo>
                      <a:pt x="294" y="1340"/>
                    </a:lnTo>
                    <a:lnTo>
                      <a:pt x="333" y="1385"/>
                    </a:lnTo>
                    <a:lnTo>
                      <a:pt x="375" y="1425"/>
                    </a:lnTo>
                    <a:lnTo>
                      <a:pt x="421" y="1464"/>
                    </a:lnTo>
                    <a:lnTo>
                      <a:pt x="428" y="1388"/>
                    </a:lnTo>
                    <a:lnTo>
                      <a:pt x="441" y="1311"/>
                    </a:lnTo>
                    <a:lnTo>
                      <a:pt x="465" y="1320"/>
                    </a:lnTo>
                    <a:lnTo>
                      <a:pt x="491" y="1327"/>
                    </a:lnTo>
                    <a:lnTo>
                      <a:pt x="516" y="1330"/>
                    </a:lnTo>
                    <a:lnTo>
                      <a:pt x="508" y="1391"/>
                    </a:lnTo>
                    <a:lnTo>
                      <a:pt x="501" y="1453"/>
                    </a:lnTo>
                    <a:lnTo>
                      <a:pt x="498" y="1515"/>
                    </a:lnTo>
                    <a:lnTo>
                      <a:pt x="557" y="1546"/>
                    </a:lnTo>
                    <a:lnTo>
                      <a:pt x="619" y="1572"/>
                    </a:lnTo>
                    <a:lnTo>
                      <a:pt x="683" y="1591"/>
                    </a:lnTo>
                    <a:lnTo>
                      <a:pt x="749" y="1606"/>
                    </a:lnTo>
                    <a:lnTo>
                      <a:pt x="817" y="1615"/>
                    </a:lnTo>
                    <a:lnTo>
                      <a:pt x="887" y="1617"/>
                    </a:lnTo>
                    <a:lnTo>
                      <a:pt x="942" y="1614"/>
                    </a:lnTo>
                    <a:lnTo>
                      <a:pt x="996" y="1607"/>
                    </a:lnTo>
                    <a:lnTo>
                      <a:pt x="1049" y="1596"/>
                    </a:lnTo>
                    <a:lnTo>
                      <a:pt x="1100" y="1582"/>
                    </a:lnTo>
                    <a:lnTo>
                      <a:pt x="1120" y="1551"/>
                    </a:lnTo>
                    <a:lnTo>
                      <a:pt x="1136" y="1516"/>
                    </a:lnTo>
                    <a:lnTo>
                      <a:pt x="1149" y="1476"/>
                    </a:lnTo>
                    <a:lnTo>
                      <a:pt x="1159" y="1433"/>
                    </a:lnTo>
                    <a:lnTo>
                      <a:pt x="1166" y="1387"/>
                    </a:lnTo>
                    <a:lnTo>
                      <a:pt x="1170" y="1338"/>
                    </a:lnTo>
                    <a:lnTo>
                      <a:pt x="1190" y="1341"/>
                    </a:lnTo>
                    <a:lnTo>
                      <a:pt x="1207" y="1341"/>
                    </a:lnTo>
                    <a:lnTo>
                      <a:pt x="1229" y="1340"/>
                    </a:lnTo>
                    <a:lnTo>
                      <a:pt x="1251" y="1337"/>
                    </a:lnTo>
                    <a:lnTo>
                      <a:pt x="1246" y="1390"/>
                    </a:lnTo>
                    <a:lnTo>
                      <a:pt x="1238" y="1442"/>
                    </a:lnTo>
                    <a:lnTo>
                      <a:pt x="1226" y="1492"/>
                    </a:lnTo>
                    <a:lnTo>
                      <a:pt x="1211" y="1538"/>
                    </a:lnTo>
                    <a:lnTo>
                      <a:pt x="1262" y="1510"/>
                    </a:lnTo>
                    <a:lnTo>
                      <a:pt x="1310" y="1478"/>
                    </a:lnTo>
                    <a:lnTo>
                      <a:pt x="1357" y="1443"/>
                    </a:lnTo>
                    <a:lnTo>
                      <a:pt x="1400" y="1405"/>
                    </a:lnTo>
                    <a:lnTo>
                      <a:pt x="1440" y="1362"/>
                    </a:lnTo>
                    <a:lnTo>
                      <a:pt x="1477" y="1317"/>
                    </a:lnTo>
                    <a:lnTo>
                      <a:pt x="1508" y="1273"/>
                    </a:lnTo>
                    <a:lnTo>
                      <a:pt x="1535" y="1226"/>
                    </a:lnTo>
                    <a:lnTo>
                      <a:pt x="1560" y="1178"/>
                    </a:lnTo>
                    <a:lnTo>
                      <a:pt x="1581" y="1127"/>
                    </a:lnTo>
                    <a:lnTo>
                      <a:pt x="1597" y="1074"/>
                    </a:lnTo>
                    <a:lnTo>
                      <a:pt x="1611" y="1020"/>
                    </a:lnTo>
                    <a:lnTo>
                      <a:pt x="1571" y="1051"/>
                    </a:lnTo>
                    <a:lnTo>
                      <a:pt x="1530" y="1076"/>
                    </a:lnTo>
                    <a:lnTo>
                      <a:pt x="1486" y="1101"/>
                    </a:lnTo>
                    <a:lnTo>
                      <a:pt x="1439" y="1124"/>
                    </a:lnTo>
                    <a:lnTo>
                      <a:pt x="1389" y="1144"/>
                    </a:lnTo>
                    <a:lnTo>
                      <a:pt x="1386" y="1117"/>
                    </a:lnTo>
                    <a:lnTo>
                      <a:pt x="1379" y="1092"/>
                    </a:lnTo>
                    <a:lnTo>
                      <a:pt x="1369" y="1068"/>
                    </a:lnTo>
                    <a:lnTo>
                      <a:pt x="1421" y="1046"/>
                    </a:lnTo>
                    <a:lnTo>
                      <a:pt x="1470" y="1022"/>
                    </a:lnTo>
                    <a:lnTo>
                      <a:pt x="1514" y="996"/>
                    </a:lnTo>
                    <a:lnTo>
                      <a:pt x="1556" y="965"/>
                    </a:lnTo>
                    <a:lnTo>
                      <a:pt x="1593" y="933"/>
                    </a:lnTo>
                    <a:lnTo>
                      <a:pt x="1626" y="899"/>
                    </a:lnTo>
                    <a:lnTo>
                      <a:pt x="1627" y="879"/>
                    </a:lnTo>
                    <a:lnTo>
                      <a:pt x="1627" y="861"/>
                    </a:lnTo>
                    <a:lnTo>
                      <a:pt x="1622" y="793"/>
                    </a:lnTo>
                    <a:lnTo>
                      <a:pt x="1613" y="729"/>
                    </a:lnTo>
                    <a:lnTo>
                      <a:pt x="1597" y="665"/>
                    </a:lnTo>
                    <a:lnTo>
                      <a:pt x="1577" y="605"/>
                    </a:lnTo>
                    <a:lnTo>
                      <a:pt x="1552" y="546"/>
                    </a:lnTo>
                    <a:lnTo>
                      <a:pt x="1522" y="491"/>
                    </a:lnTo>
                    <a:lnTo>
                      <a:pt x="1486" y="438"/>
                    </a:lnTo>
                    <a:lnTo>
                      <a:pt x="1448" y="388"/>
                    </a:lnTo>
                    <a:lnTo>
                      <a:pt x="1405" y="342"/>
                    </a:lnTo>
                    <a:lnTo>
                      <a:pt x="1359" y="300"/>
                    </a:lnTo>
                    <a:lnTo>
                      <a:pt x="1298" y="320"/>
                    </a:lnTo>
                    <a:lnTo>
                      <a:pt x="1239" y="344"/>
                    </a:lnTo>
                    <a:lnTo>
                      <a:pt x="1181" y="372"/>
                    </a:lnTo>
                    <a:lnTo>
                      <a:pt x="1125" y="403"/>
                    </a:lnTo>
                    <a:lnTo>
                      <a:pt x="1113" y="381"/>
                    </a:lnTo>
                    <a:lnTo>
                      <a:pt x="1097" y="359"/>
                    </a:lnTo>
                    <a:lnTo>
                      <a:pt x="1079" y="340"/>
                    </a:lnTo>
                    <a:lnTo>
                      <a:pt x="1144" y="303"/>
                    </a:lnTo>
                    <a:lnTo>
                      <a:pt x="1212" y="271"/>
                    </a:lnTo>
                    <a:lnTo>
                      <a:pt x="1280" y="244"/>
                    </a:lnTo>
                    <a:lnTo>
                      <a:pt x="1227" y="213"/>
                    </a:lnTo>
                    <a:lnTo>
                      <a:pt x="1172" y="187"/>
                    </a:lnTo>
                    <a:lnTo>
                      <a:pt x="1115" y="165"/>
                    </a:lnTo>
                    <a:lnTo>
                      <a:pt x="1056" y="147"/>
                    </a:lnTo>
                    <a:lnTo>
                      <a:pt x="993" y="135"/>
                    </a:lnTo>
                    <a:lnTo>
                      <a:pt x="930" y="129"/>
                    </a:lnTo>
                    <a:lnTo>
                      <a:pt x="865" y="127"/>
                    </a:lnTo>
                    <a:close/>
                    <a:moveTo>
                      <a:pt x="863" y="0"/>
                    </a:moveTo>
                    <a:lnTo>
                      <a:pt x="938" y="2"/>
                    </a:lnTo>
                    <a:lnTo>
                      <a:pt x="1012" y="10"/>
                    </a:lnTo>
                    <a:lnTo>
                      <a:pt x="1083" y="24"/>
                    </a:lnTo>
                    <a:lnTo>
                      <a:pt x="1152" y="43"/>
                    </a:lnTo>
                    <a:lnTo>
                      <a:pt x="1219" y="68"/>
                    </a:lnTo>
                    <a:lnTo>
                      <a:pt x="1283" y="99"/>
                    </a:lnTo>
                    <a:lnTo>
                      <a:pt x="1345" y="134"/>
                    </a:lnTo>
                    <a:lnTo>
                      <a:pt x="1403" y="173"/>
                    </a:lnTo>
                    <a:lnTo>
                      <a:pt x="1458" y="218"/>
                    </a:lnTo>
                    <a:lnTo>
                      <a:pt x="1509" y="268"/>
                    </a:lnTo>
                    <a:lnTo>
                      <a:pt x="1557" y="321"/>
                    </a:lnTo>
                    <a:lnTo>
                      <a:pt x="1600" y="377"/>
                    </a:lnTo>
                    <a:lnTo>
                      <a:pt x="1638" y="438"/>
                    </a:lnTo>
                    <a:lnTo>
                      <a:pt x="1671" y="501"/>
                    </a:lnTo>
                    <a:lnTo>
                      <a:pt x="1699" y="568"/>
                    </a:lnTo>
                    <a:lnTo>
                      <a:pt x="1721" y="637"/>
                    </a:lnTo>
                    <a:lnTo>
                      <a:pt x="1738" y="709"/>
                    </a:lnTo>
                    <a:lnTo>
                      <a:pt x="1749" y="783"/>
                    </a:lnTo>
                    <a:lnTo>
                      <a:pt x="1753" y="858"/>
                    </a:lnTo>
                    <a:lnTo>
                      <a:pt x="1751" y="933"/>
                    </a:lnTo>
                    <a:lnTo>
                      <a:pt x="1743" y="1006"/>
                    </a:lnTo>
                    <a:lnTo>
                      <a:pt x="1730" y="1076"/>
                    </a:lnTo>
                    <a:lnTo>
                      <a:pt x="1710" y="1146"/>
                    </a:lnTo>
                    <a:lnTo>
                      <a:pt x="1685" y="1212"/>
                    </a:lnTo>
                    <a:lnTo>
                      <a:pt x="1654" y="1276"/>
                    </a:lnTo>
                    <a:lnTo>
                      <a:pt x="1618" y="1337"/>
                    </a:lnTo>
                    <a:lnTo>
                      <a:pt x="1579" y="1394"/>
                    </a:lnTo>
                    <a:lnTo>
                      <a:pt x="1534" y="1449"/>
                    </a:lnTo>
                    <a:lnTo>
                      <a:pt x="1484" y="1500"/>
                    </a:lnTo>
                    <a:lnTo>
                      <a:pt x="1431" y="1548"/>
                    </a:lnTo>
                    <a:lnTo>
                      <a:pt x="1374" y="1590"/>
                    </a:lnTo>
                    <a:lnTo>
                      <a:pt x="1313" y="1628"/>
                    </a:lnTo>
                    <a:lnTo>
                      <a:pt x="1249" y="1661"/>
                    </a:lnTo>
                    <a:lnTo>
                      <a:pt x="1181" y="1689"/>
                    </a:lnTo>
                    <a:lnTo>
                      <a:pt x="1112" y="1711"/>
                    </a:lnTo>
                    <a:lnTo>
                      <a:pt x="1040" y="1727"/>
                    </a:lnTo>
                    <a:lnTo>
                      <a:pt x="965" y="1738"/>
                    </a:lnTo>
                    <a:lnTo>
                      <a:pt x="889" y="1742"/>
                    </a:lnTo>
                    <a:lnTo>
                      <a:pt x="814" y="1741"/>
                    </a:lnTo>
                    <a:lnTo>
                      <a:pt x="742" y="1733"/>
                    </a:lnTo>
                    <a:lnTo>
                      <a:pt x="670" y="1718"/>
                    </a:lnTo>
                    <a:lnTo>
                      <a:pt x="600" y="1699"/>
                    </a:lnTo>
                    <a:lnTo>
                      <a:pt x="534" y="1674"/>
                    </a:lnTo>
                    <a:lnTo>
                      <a:pt x="469" y="1644"/>
                    </a:lnTo>
                    <a:lnTo>
                      <a:pt x="408" y="1609"/>
                    </a:lnTo>
                    <a:lnTo>
                      <a:pt x="350" y="1569"/>
                    </a:lnTo>
                    <a:lnTo>
                      <a:pt x="294" y="1524"/>
                    </a:lnTo>
                    <a:lnTo>
                      <a:pt x="243" y="1475"/>
                    </a:lnTo>
                    <a:lnTo>
                      <a:pt x="196" y="1422"/>
                    </a:lnTo>
                    <a:lnTo>
                      <a:pt x="153" y="1365"/>
                    </a:lnTo>
                    <a:lnTo>
                      <a:pt x="114" y="1305"/>
                    </a:lnTo>
                    <a:lnTo>
                      <a:pt x="81" y="1242"/>
                    </a:lnTo>
                    <a:lnTo>
                      <a:pt x="53" y="1175"/>
                    </a:lnTo>
                    <a:lnTo>
                      <a:pt x="31" y="1106"/>
                    </a:lnTo>
                    <a:lnTo>
                      <a:pt x="15" y="1034"/>
                    </a:lnTo>
                    <a:lnTo>
                      <a:pt x="4" y="960"/>
                    </a:lnTo>
                    <a:lnTo>
                      <a:pt x="0" y="884"/>
                    </a:lnTo>
                    <a:lnTo>
                      <a:pt x="2" y="810"/>
                    </a:lnTo>
                    <a:lnTo>
                      <a:pt x="9" y="737"/>
                    </a:lnTo>
                    <a:lnTo>
                      <a:pt x="24" y="665"/>
                    </a:lnTo>
                    <a:lnTo>
                      <a:pt x="44" y="597"/>
                    </a:lnTo>
                    <a:lnTo>
                      <a:pt x="69" y="530"/>
                    </a:lnTo>
                    <a:lnTo>
                      <a:pt x="99" y="467"/>
                    </a:lnTo>
                    <a:lnTo>
                      <a:pt x="134" y="406"/>
                    </a:lnTo>
                    <a:lnTo>
                      <a:pt x="174" y="349"/>
                    </a:lnTo>
                    <a:lnTo>
                      <a:pt x="219" y="294"/>
                    </a:lnTo>
                    <a:lnTo>
                      <a:pt x="268" y="242"/>
                    </a:lnTo>
                    <a:lnTo>
                      <a:pt x="321" y="195"/>
                    </a:lnTo>
                    <a:lnTo>
                      <a:pt x="380" y="152"/>
                    </a:lnTo>
                    <a:lnTo>
                      <a:pt x="440" y="114"/>
                    </a:lnTo>
                    <a:lnTo>
                      <a:pt x="504" y="82"/>
                    </a:lnTo>
                    <a:lnTo>
                      <a:pt x="571" y="54"/>
                    </a:lnTo>
                    <a:lnTo>
                      <a:pt x="641" y="31"/>
                    </a:lnTo>
                    <a:lnTo>
                      <a:pt x="712" y="14"/>
                    </a:lnTo>
                    <a:lnTo>
                      <a:pt x="787" y="4"/>
                    </a:lnTo>
                    <a:lnTo>
                      <a:pt x="86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46" name="Freeform 10"/>
              <p:cNvSpPr>
                <a:spLocks noEditPoints="1"/>
              </p:cNvSpPr>
              <p:nvPr/>
            </p:nvSpPr>
            <p:spPr bwMode="auto">
              <a:xfrm>
                <a:off x="6556512" y="4888075"/>
                <a:ext cx="436563" cy="73025"/>
              </a:xfrm>
              <a:custGeom>
                <a:avLst/>
                <a:gdLst>
                  <a:gd name="T0" fmla="*/ 56 w 1378"/>
                  <a:gd name="T1" fmla="*/ 56 h 231"/>
                  <a:gd name="T2" fmla="*/ 56 w 1378"/>
                  <a:gd name="T3" fmla="*/ 175 h 231"/>
                  <a:gd name="T4" fmla="*/ 1322 w 1378"/>
                  <a:gd name="T5" fmla="*/ 175 h 231"/>
                  <a:gd name="T6" fmla="*/ 1322 w 1378"/>
                  <a:gd name="T7" fmla="*/ 56 h 231"/>
                  <a:gd name="T8" fmla="*/ 56 w 1378"/>
                  <a:gd name="T9" fmla="*/ 56 h 231"/>
                  <a:gd name="T10" fmla="*/ 0 w 1378"/>
                  <a:gd name="T11" fmla="*/ 0 h 231"/>
                  <a:gd name="T12" fmla="*/ 1378 w 1378"/>
                  <a:gd name="T13" fmla="*/ 0 h 231"/>
                  <a:gd name="T14" fmla="*/ 1378 w 1378"/>
                  <a:gd name="T15" fmla="*/ 231 h 231"/>
                  <a:gd name="T16" fmla="*/ 0 w 1378"/>
                  <a:gd name="T17" fmla="*/ 231 h 231"/>
                  <a:gd name="T18" fmla="*/ 0 w 1378"/>
                  <a:gd name="T19"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8" h="231">
                    <a:moveTo>
                      <a:pt x="56" y="56"/>
                    </a:moveTo>
                    <a:lnTo>
                      <a:pt x="56" y="175"/>
                    </a:lnTo>
                    <a:lnTo>
                      <a:pt x="1322" y="175"/>
                    </a:lnTo>
                    <a:lnTo>
                      <a:pt x="1322" y="56"/>
                    </a:lnTo>
                    <a:lnTo>
                      <a:pt x="56" y="56"/>
                    </a:lnTo>
                    <a:close/>
                    <a:moveTo>
                      <a:pt x="0" y="0"/>
                    </a:moveTo>
                    <a:lnTo>
                      <a:pt x="1378" y="0"/>
                    </a:lnTo>
                    <a:lnTo>
                      <a:pt x="1378" y="231"/>
                    </a:lnTo>
                    <a:lnTo>
                      <a:pt x="0" y="231"/>
                    </a:lnTo>
                    <a:lnTo>
                      <a:pt x="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47" name="Group 46"/>
          <p:cNvGrpSpPr/>
          <p:nvPr/>
        </p:nvGrpSpPr>
        <p:grpSpPr>
          <a:xfrm>
            <a:off x="8113893" y="4716843"/>
            <a:ext cx="860306" cy="1193732"/>
            <a:chOff x="8118535" y="4326133"/>
            <a:chExt cx="860428" cy="1193901"/>
          </a:xfrm>
        </p:grpSpPr>
        <p:sp>
          <p:nvSpPr>
            <p:cNvPr id="48" name="Rectangle 47"/>
            <p:cNvSpPr/>
            <p:nvPr/>
          </p:nvSpPr>
          <p:spPr>
            <a:xfrm>
              <a:off x="8279613" y="5331991"/>
              <a:ext cx="684233" cy="188043"/>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FFFFFF"/>
                  </a:solidFill>
                </a:rPr>
                <a:t>ADFS</a:t>
              </a:r>
            </a:p>
          </p:txBody>
        </p:sp>
        <p:grpSp>
          <p:nvGrpSpPr>
            <p:cNvPr id="49" name="Group 32"/>
            <p:cNvGrpSpPr>
              <a:grpSpLocks noChangeAspect="1"/>
            </p:cNvGrpSpPr>
            <p:nvPr/>
          </p:nvGrpSpPr>
          <p:grpSpPr bwMode="auto">
            <a:xfrm>
              <a:off x="8118535" y="4326133"/>
              <a:ext cx="860428" cy="966788"/>
              <a:chOff x="4642" y="2034"/>
              <a:chExt cx="542" cy="609"/>
            </a:xfrm>
          </p:grpSpPr>
          <p:sp>
            <p:nvSpPr>
              <p:cNvPr id="50" name="Freeform 34"/>
              <p:cNvSpPr>
                <a:spLocks noEditPoints="1"/>
              </p:cNvSpPr>
              <p:nvPr/>
            </p:nvSpPr>
            <p:spPr bwMode="auto">
              <a:xfrm>
                <a:off x="4873" y="2034"/>
                <a:ext cx="311" cy="609"/>
              </a:xfrm>
              <a:custGeom>
                <a:avLst/>
                <a:gdLst>
                  <a:gd name="T0" fmla="*/ 1633 w 1864"/>
                  <a:gd name="T1" fmla="*/ 3401 h 3656"/>
                  <a:gd name="T2" fmla="*/ 207 w 1864"/>
                  <a:gd name="T3" fmla="*/ 3228 h 3656"/>
                  <a:gd name="T4" fmla="*/ 207 w 1864"/>
                  <a:gd name="T5" fmla="*/ 3425 h 3656"/>
                  <a:gd name="T6" fmla="*/ 230 w 1864"/>
                  <a:gd name="T7" fmla="*/ 3075 h 3656"/>
                  <a:gd name="T8" fmla="*/ 230 w 1864"/>
                  <a:gd name="T9" fmla="*/ 2880 h 3656"/>
                  <a:gd name="T10" fmla="*/ 516 w 1864"/>
                  <a:gd name="T11" fmla="*/ 3099 h 3656"/>
                  <a:gd name="T12" fmla="*/ 230 w 1864"/>
                  <a:gd name="T13" fmla="*/ 654 h 3656"/>
                  <a:gd name="T14" fmla="*/ 1633 w 1864"/>
                  <a:gd name="T15" fmla="*/ 654 h 3656"/>
                  <a:gd name="T16" fmla="*/ 1658 w 1864"/>
                  <a:gd name="T17" fmla="*/ 629 h 3656"/>
                  <a:gd name="T18" fmla="*/ 207 w 1864"/>
                  <a:gd name="T19" fmla="*/ 629 h 3656"/>
                  <a:gd name="T20" fmla="*/ 1633 w 1864"/>
                  <a:gd name="T21" fmla="*/ 453 h 3656"/>
                  <a:gd name="T22" fmla="*/ 207 w 1864"/>
                  <a:gd name="T23" fmla="*/ 281 h 3656"/>
                  <a:gd name="T24" fmla="*/ 207 w 1864"/>
                  <a:gd name="T25" fmla="*/ 477 h 3656"/>
                  <a:gd name="T26" fmla="*/ 1608 w 1864"/>
                  <a:gd name="T27" fmla="*/ 0 h 3656"/>
                  <a:gd name="T28" fmla="*/ 1725 w 1864"/>
                  <a:gd name="T29" fmla="*/ 27 h 3656"/>
                  <a:gd name="T30" fmla="*/ 1814 w 1864"/>
                  <a:gd name="T31" fmla="*/ 95 h 3656"/>
                  <a:gd name="T32" fmla="*/ 1861 w 1864"/>
                  <a:gd name="T33" fmla="*/ 193 h 3656"/>
                  <a:gd name="T34" fmla="*/ 1861 w 1864"/>
                  <a:gd name="T35" fmla="*/ 3464 h 3656"/>
                  <a:gd name="T36" fmla="*/ 1814 w 1864"/>
                  <a:gd name="T37" fmla="*/ 3562 h 3656"/>
                  <a:gd name="T38" fmla="*/ 1725 w 1864"/>
                  <a:gd name="T39" fmla="*/ 3630 h 3656"/>
                  <a:gd name="T40" fmla="*/ 1608 w 1864"/>
                  <a:gd name="T41" fmla="*/ 3656 h 3656"/>
                  <a:gd name="T42" fmla="*/ 176 w 1864"/>
                  <a:gd name="T43" fmla="*/ 3644 h 3656"/>
                  <a:gd name="T44" fmla="*/ 75 w 1864"/>
                  <a:gd name="T45" fmla="*/ 3588 h 3656"/>
                  <a:gd name="T46" fmla="*/ 13 w 1864"/>
                  <a:gd name="T47" fmla="*/ 3500 h 3656"/>
                  <a:gd name="T48" fmla="*/ 0 w 1864"/>
                  <a:gd name="T49" fmla="*/ 2875 h 3656"/>
                  <a:gd name="T50" fmla="*/ 27 w 1864"/>
                  <a:gd name="T51" fmla="*/ 3460 h 3656"/>
                  <a:gd name="T52" fmla="*/ 69 w 1864"/>
                  <a:gd name="T53" fmla="*/ 3547 h 3656"/>
                  <a:gd name="T54" fmla="*/ 150 w 1864"/>
                  <a:gd name="T55" fmla="*/ 3609 h 3656"/>
                  <a:gd name="T56" fmla="*/ 257 w 1864"/>
                  <a:gd name="T57" fmla="*/ 3632 h 3656"/>
                  <a:gd name="T58" fmla="*/ 1681 w 1864"/>
                  <a:gd name="T59" fmla="*/ 3622 h 3656"/>
                  <a:gd name="T60" fmla="*/ 1772 w 1864"/>
                  <a:gd name="T61" fmla="*/ 3572 h 3656"/>
                  <a:gd name="T62" fmla="*/ 1829 w 1864"/>
                  <a:gd name="T63" fmla="*/ 3492 h 3656"/>
                  <a:gd name="T64" fmla="*/ 1840 w 1864"/>
                  <a:gd name="T65" fmla="*/ 230 h 3656"/>
                  <a:gd name="T66" fmla="*/ 1814 w 1864"/>
                  <a:gd name="T67" fmla="*/ 136 h 3656"/>
                  <a:gd name="T68" fmla="*/ 1744 w 1864"/>
                  <a:gd name="T69" fmla="*/ 65 h 3656"/>
                  <a:gd name="T70" fmla="*/ 1645 w 1864"/>
                  <a:gd name="T71" fmla="*/ 28 h 3656"/>
                  <a:gd name="T72" fmla="*/ 219 w 1864"/>
                  <a:gd name="T73" fmla="*/ 28 h 3656"/>
                  <a:gd name="T74" fmla="*/ 119 w 1864"/>
                  <a:gd name="T75" fmla="*/ 65 h 3656"/>
                  <a:gd name="T76" fmla="*/ 49 w 1864"/>
                  <a:gd name="T77" fmla="*/ 136 h 3656"/>
                  <a:gd name="T78" fmla="*/ 24 w 1864"/>
                  <a:gd name="T79" fmla="*/ 230 h 3656"/>
                  <a:gd name="T80" fmla="*/ 0 w 1864"/>
                  <a:gd name="T81" fmla="*/ 230 h 3656"/>
                  <a:gd name="T82" fmla="*/ 28 w 1864"/>
                  <a:gd name="T83" fmla="*/ 125 h 3656"/>
                  <a:gd name="T84" fmla="*/ 105 w 1864"/>
                  <a:gd name="T85" fmla="*/ 45 h 3656"/>
                  <a:gd name="T86" fmla="*/ 215 w 1864"/>
                  <a:gd name="T87" fmla="*/ 4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4" h="3656">
                    <a:moveTo>
                      <a:pt x="230" y="3252"/>
                    </a:moveTo>
                    <a:lnTo>
                      <a:pt x="230" y="3401"/>
                    </a:lnTo>
                    <a:lnTo>
                      <a:pt x="1633" y="3401"/>
                    </a:lnTo>
                    <a:lnTo>
                      <a:pt x="1633" y="3252"/>
                    </a:lnTo>
                    <a:lnTo>
                      <a:pt x="230" y="3252"/>
                    </a:lnTo>
                    <a:close/>
                    <a:moveTo>
                      <a:pt x="207" y="3228"/>
                    </a:moveTo>
                    <a:lnTo>
                      <a:pt x="1658" y="3228"/>
                    </a:lnTo>
                    <a:lnTo>
                      <a:pt x="1658" y="3425"/>
                    </a:lnTo>
                    <a:lnTo>
                      <a:pt x="207" y="3425"/>
                    </a:lnTo>
                    <a:lnTo>
                      <a:pt x="207" y="3228"/>
                    </a:lnTo>
                    <a:close/>
                    <a:moveTo>
                      <a:pt x="230" y="2880"/>
                    </a:moveTo>
                    <a:lnTo>
                      <a:pt x="230" y="3075"/>
                    </a:lnTo>
                    <a:lnTo>
                      <a:pt x="492" y="3075"/>
                    </a:lnTo>
                    <a:lnTo>
                      <a:pt x="492" y="2880"/>
                    </a:lnTo>
                    <a:lnTo>
                      <a:pt x="230" y="2880"/>
                    </a:lnTo>
                    <a:close/>
                    <a:moveTo>
                      <a:pt x="207" y="2856"/>
                    </a:moveTo>
                    <a:lnTo>
                      <a:pt x="516" y="2856"/>
                    </a:lnTo>
                    <a:lnTo>
                      <a:pt x="516" y="3099"/>
                    </a:lnTo>
                    <a:lnTo>
                      <a:pt x="207" y="3099"/>
                    </a:lnTo>
                    <a:lnTo>
                      <a:pt x="207" y="2856"/>
                    </a:lnTo>
                    <a:close/>
                    <a:moveTo>
                      <a:pt x="230" y="654"/>
                    </a:moveTo>
                    <a:lnTo>
                      <a:pt x="230" y="819"/>
                    </a:lnTo>
                    <a:lnTo>
                      <a:pt x="1633" y="819"/>
                    </a:lnTo>
                    <a:lnTo>
                      <a:pt x="1633" y="654"/>
                    </a:lnTo>
                    <a:lnTo>
                      <a:pt x="230" y="654"/>
                    </a:lnTo>
                    <a:close/>
                    <a:moveTo>
                      <a:pt x="207" y="629"/>
                    </a:moveTo>
                    <a:lnTo>
                      <a:pt x="1658" y="629"/>
                    </a:lnTo>
                    <a:lnTo>
                      <a:pt x="1658" y="843"/>
                    </a:lnTo>
                    <a:lnTo>
                      <a:pt x="207" y="843"/>
                    </a:lnTo>
                    <a:lnTo>
                      <a:pt x="207" y="629"/>
                    </a:lnTo>
                    <a:close/>
                    <a:moveTo>
                      <a:pt x="230" y="304"/>
                    </a:moveTo>
                    <a:lnTo>
                      <a:pt x="230" y="453"/>
                    </a:lnTo>
                    <a:lnTo>
                      <a:pt x="1633" y="453"/>
                    </a:lnTo>
                    <a:lnTo>
                      <a:pt x="1633" y="304"/>
                    </a:lnTo>
                    <a:lnTo>
                      <a:pt x="230" y="304"/>
                    </a:lnTo>
                    <a:close/>
                    <a:moveTo>
                      <a:pt x="207" y="281"/>
                    </a:moveTo>
                    <a:lnTo>
                      <a:pt x="1658" y="281"/>
                    </a:lnTo>
                    <a:lnTo>
                      <a:pt x="1658" y="477"/>
                    </a:lnTo>
                    <a:lnTo>
                      <a:pt x="207" y="477"/>
                    </a:lnTo>
                    <a:lnTo>
                      <a:pt x="207" y="281"/>
                    </a:lnTo>
                    <a:close/>
                    <a:moveTo>
                      <a:pt x="257" y="0"/>
                    </a:moveTo>
                    <a:lnTo>
                      <a:pt x="1608" y="0"/>
                    </a:lnTo>
                    <a:lnTo>
                      <a:pt x="1649" y="4"/>
                    </a:lnTo>
                    <a:lnTo>
                      <a:pt x="1689" y="13"/>
                    </a:lnTo>
                    <a:lnTo>
                      <a:pt x="1725" y="27"/>
                    </a:lnTo>
                    <a:lnTo>
                      <a:pt x="1759" y="45"/>
                    </a:lnTo>
                    <a:lnTo>
                      <a:pt x="1789" y="68"/>
                    </a:lnTo>
                    <a:lnTo>
                      <a:pt x="1814" y="95"/>
                    </a:lnTo>
                    <a:lnTo>
                      <a:pt x="1835" y="125"/>
                    </a:lnTo>
                    <a:lnTo>
                      <a:pt x="1851" y="158"/>
                    </a:lnTo>
                    <a:lnTo>
                      <a:pt x="1861" y="193"/>
                    </a:lnTo>
                    <a:lnTo>
                      <a:pt x="1864" y="230"/>
                    </a:lnTo>
                    <a:lnTo>
                      <a:pt x="1864" y="3426"/>
                    </a:lnTo>
                    <a:lnTo>
                      <a:pt x="1861" y="3464"/>
                    </a:lnTo>
                    <a:lnTo>
                      <a:pt x="1851" y="3500"/>
                    </a:lnTo>
                    <a:lnTo>
                      <a:pt x="1835" y="3532"/>
                    </a:lnTo>
                    <a:lnTo>
                      <a:pt x="1814" y="3562"/>
                    </a:lnTo>
                    <a:lnTo>
                      <a:pt x="1789" y="3588"/>
                    </a:lnTo>
                    <a:lnTo>
                      <a:pt x="1759" y="3612"/>
                    </a:lnTo>
                    <a:lnTo>
                      <a:pt x="1725" y="3630"/>
                    </a:lnTo>
                    <a:lnTo>
                      <a:pt x="1689" y="3644"/>
                    </a:lnTo>
                    <a:lnTo>
                      <a:pt x="1649" y="3653"/>
                    </a:lnTo>
                    <a:lnTo>
                      <a:pt x="1608" y="3656"/>
                    </a:lnTo>
                    <a:lnTo>
                      <a:pt x="257" y="3656"/>
                    </a:lnTo>
                    <a:lnTo>
                      <a:pt x="215" y="3653"/>
                    </a:lnTo>
                    <a:lnTo>
                      <a:pt x="176" y="3644"/>
                    </a:lnTo>
                    <a:lnTo>
                      <a:pt x="139" y="3630"/>
                    </a:lnTo>
                    <a:lnTo>
                      <a:pt x="105" y="3612"/>
                    </a:lnTo>
                    <a:lnTo>
                      <a:pt x="75" y="3588"/>
                    </a:lnTo>
                    <a:lnTo>
                      <a:pt x="49" y="3562"/>
                    </a:lnTo>
                    <a:lnTo>
                      <a:pt x="28" y="3532"/>
                    </a:lnTo>
                    <a:lnTo>
                      <a:pt x="13" y="3500"/>
                    </a:lnTo>
                    <a:lnTo>
                      <a:pt x="3" y="3464"/>
                    </a:lnTo>
                    <a:lnTo>
                      <a:pt x="0" y="3426"/>
                    </a:lnTo>
                    <a:lnTo>
                      <a:pt x="0" y="2875"/>
                    </a:lnTo>
                    <a:lnTo>
                      <a:pt x="24" y="2875"/>
                    </a:lnTo>
                    <a:lnTo>
                      <a:pt x="24" y="3426"/>
                    </a:lnTo>
                    <a:lnTo>
                      <a:pt x="27" y="3460"/>
                    </a:lnTo>
                    <a:lnTo>
                      <a:pt x="36" y="3492"/>
                    </a:lnTo>
                    <a:lnTo>
                      <a:pt x="49" y="3521"/>
                    </a:lnTo>
                    <a:lnTo>
                      <a:pt x="69" y="3547"/>
                    </a:lnTo>
                    <a:lnTo>
                      <a:pt x="93" y="3572"/>
                    </a:lnTo>
                    <a:lnTo>
                      <a:pt x="119" y="3593"/>
                    </a:lnTo>
                    <a:lnTo>
                      <a:pt x="150" y="3609"/>
                    </a:lnTo>
                    <a:lnTo>
                      <a:pt x="184" y="3622"/>
                    </a:lnTo>
                    <a:lnTo>
                      <a:pt x="219" y="3629"/>
                    </a:lnTo>
                    <a:lnTo>
                      <a:pt x="257" y="3632"/>
                    </a:lnTo>
                    <a:lnTo>
                      <a:pt x="1608" y="3632"/>
                    </a:lnTo>
                    <a:lnTo>
                      <a:pt x="1645" y="3629"/>
                    </a:lnTo>
                    <a:lnTo>
                      <a:pt x="1681" y="3622"/>
                    </a:lnTo>
                    <a:lnTo>
                      <a:pt x="1714" y="3609"/>
                    </a:lnTo>
                    <a:lnTo>
                      <a:pt x="1744" y="3593"/>
                    </a:lnTo>
                    <a:lnTo>
                      <a:pt x="1772" y="3572"/>
                    </a:lnTo>
                    <a:lnTo>
                      <a:pt x="1795" y="3547"/>
                    </a:lnTo>
                    <a:lnTo>
                      <a:pt x="1814" y="3521"/>
                    </a:lnTo>
                    <a:lnTo>
                      <a:pt x="1829" y="3492"/>
                    </a:lnTo>
                    <a:lnTo>
                      <a:pt x="1837" y="3460"/>
                    </a:lnTo>
                    <a:lnTo>
                      <a:pt x="1840" y="3426"/>
                    </a:lnTo>
                    <a:lnTo>
                      <a:pt x="1840" y="230"/>
                    </a:lnTo>
                    <a:lnTo>
                      <a:pt x="1837" y="197"/>
                    </a:lnTo>
                    <a:lnTo>
                      <a:pt x="1829" y="166"/>
                    </a:lnTo>
                    <a:lnTo>
                      <a:pt x="1814" y="136"/>
                    </a:lnTo>
                    <a:lnTo>
                      <a:pt x="1795" y="109"/>
                    </a:lnTo>
                    <a:lnTo>
                      <a:pt x="1772" y="85"/>
                    </a:lnTo>
                    <a:lnTo>
                      <a:pt x="1744" y="65"/>
                    </a:lnTo>
                    <a:lnTo>
                      <a:pt x="1714" y="48"/>
                    </a:lnTo>
                    <a:lnTo>
                      <a:pt x="1681" y="36"/>
                    </a:lnTo>
                    <a:lnTo>
                      <a:pt x="1645" y="28"/>
                    </a:lnTo>
                    <a:lnTo>
                      <a:pt x="1608" y="25"/>
                    </a:lnTo>
                    <a:lnTo>
                      <a:pt x="257" y="25"/>
                    </a:lnTo>
                    <a:lnTo>
                      <a:pt x="219" y="28"/>
                    </a:lnTo>
                    <a:lnTo>
                      <a:pt x="184" y="36"/>
                    </a:lnTo>
                    <a:lnTo>
                      <a:pt x="150" y="48"/>
                    </a:lnTo>
                    <a:lnTo>
                      <a:pt x="119" y="65"/>
                    </a:lnTo>
                    <a:lnTo>
                      <a:pt x="93" y="85"/>
                    </a:lnTo>
                    <a:lnTo>
                      <a:pt x="69" y="109"/>
                    </a:lnTo>
                    <a:lnTo>
                      <a:pt x="49" y="136"/>
                    </a:lnTo>
                    <a:lnTo>
                      <a:pt x="36" y="166"/>
                    </a:lnTo>
                    <a:lnTo>
                      <a:pt x="27" y="197"/>
                    </a:lnTo>
                    <a:lnTo>
                      <a:pt x="24" y="230"/>
                    </a:lnTo>
                    <a:lnTo>
                      <a:pt x="24" y="1070"/>
                    </a:lnTo>
                    <a:lnTo>
                      <a:pt x="0" y="1070"/>
                    </a:lnTo>
                    <a:lnTo>
                      <a:pt x="0" y="230"/>
                    </a:lnTo>
                    <a:lnTo>
                      <a:pt x="3" y="193"/>
                    </a:lnTo>
                    <a:lnTo>
                      <a:pt x="13" y="158"/>
                    </a:lnTo>
                    <a:lnTo>
                      <a:pt x="28" y="125"/>
                    </a:lnTo>
                    <a:lnTo>
                      <a:pt x="49" y="95"/>
                    </a:lnTo>
                    <a:lnTo>
                      <a:pt x="75" y="68"/>
                    </a:lnTo>
                    <a:lnTo>
                      <a:pt x="105" y="45"/>
                    </a:lnTo>
                    <a:lnTo>
                      <a:pt x="139" y="27"/>
                    </a:lnTo>
                    <a:lnTo>
                      <a:pt x="176" y="13"/>
                    </a:lnTo>
                    <a:lnTo>
                      <a:pt x="215" y="4"/>
                    </a:lnTo>
                    <a:lnTo>
                      <a:pt x="257"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51" name="Freeform 35"/>
              <p:cNvSpPr>
                <a:spLocks noEditPoints="1"/>
              </p:cNvSpPr>
              <p:nvPr/>
            </p:nvSpPr>
            <p:spPr bwMode="auto">
              <a:xfrm>
                <a:off x="4642" y="2206"/>
                <a:ext cx="233" cy="309"/>
              </a:xfrm>
              <a:custGeom>
                <a:avLst/>
                <a:gdLst>
                  <a:gd name="T0" fmla="*/ 1383 w 1401"/>
                  <a:gd name="T1" fmla="*/ 47 h 1851"/>
                  <a:gd name="T2" fmla="*/ 33 w 1401"/>
                  <a:gd name="T3" fmla="*/ 1612 h 1851"/>
                  <a:gd name="T4" fmla="*/ 1381 w 1401"/>
                  <a:gd name="T5" fmla="*/ 1831 h 1851"/>
                  <a:gd name="T6" fmla="*/ 1383 w 1401"/>
                  <a:gd name="T7" fmla="*/ 47 h 1851"/>
                  <a:gd name="T8" fmla="*/ 1401 w 1401"/>
                  <a:gd name="T9" fmla="*/ 0 h 1851"/>
                  <a:gd name="T10" fmla="*/ 1401 w 1401"/>
                  <a:gd name="T11" fmla="*/ 23 h 1851"/>
                  <a:gd name="T12" fmla="*/ 1399 w 1401"/>
                  <a:gd name="T13" fmla="*/ 1841 h 1851"/>
                  <a:gd name="T14" fmla="*/ 1399 w 1401"/>
                  <a:gd name="T15" fmla="*/ 1851 h 1851"/>
                  <a:gd name="T16" fmla="*/ 1389 w 1401"/>
                  <a:gd name="T17" fmla="*/ 1850 h 1851"/>
                  <a:gd name="T18" fmla="*/ 16 w 1401"/>
                  <a:gd name="T19" fmla="*/ 1627 h 1851"/>
                  <a:gd name="T20" fmla="*/ 0 w 1401"/>
                  <a:gd name="T21" fmla="*/ 1625 h 1851"/>
                  <a:gd name="T22" fmla="*/ 10 w 1401"/>
                  <a:gd name="T23" fmla="*/ 1613 h 1851"/>
                  <a:gd name="T24" fmla="*/ 1385 w 1401"/>
                  <a:gd name="T25" fmla="*/ 18 h 1851"/>
                  <a:gd name="T26" fmla="*/ 1401 w 1401"/>
                  <a:gd name="T27"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1" h="1851">
                    <a:moveTo>
                      <a:pt x="1383" y="47"/>
                    </a:moveTo>
                    <a:lnTo>
                      <a:pt x="33" y="1612"/>
                    </a:lnTo>
                    <a:lnTo>
                      <a:pt x="1381" y="1831"/>
                    </a:lnTo>
                    <a:lnTo>
                      <a:pt x="1383" y="47"/>
                    </a:lnTo>
                    <a:close/>
                    <a:moveTo>
                      <a:pt x="1401" y="0"/>
                    </a:moveTo>
                    <a:lnTo>
                      <a:pt x="1401" y="23"/>
                    </a:lnTo>
                    <a:lnTo>
                      <a:pt x="1399" y="1841"/>
                    </a:lnTo>
                    <a:lnTo>
                      <a:pt x="1399" y="1851"/>
                    </a:lnTo>
                    <a:lnTo>
                      <a:pt x="1389" y="1850"/>
                    </a:lnTo>
                    <a:lnTo>
                      <a:pt x="16" y="1627"/>
                    </a:lnTo>
                    <a:lnTo>
                      <a:pt x="0" y="1625"/>
                    </a:lnTo>
                    <a:lnTo>
                      <a:pt x="10" y="1613"/>
                    </a:lnTo>
                    <a:lnTo>
                      <a:pt x="1385" y="18"/>
                    </a:lnTo>
                    <a:lnTo>
                      <a:pt x="1401"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52" name="Freeform 36"/>
              <p:cNvSpPr>
                <a:spLocks noEditPoints="1"/>
              </p:cNvSpPr>
              <p:nvPr/>
            </p:nvSpPr>
            <p:spPr bwMode="auto">
              <a:xfrm>
                <a:off x="4875" y="2206"/>
                <a:ext cx="233" cy="309"/>
              </a:xfrm>
              <a:custGeom>
                <a:avLst/>
                <a:gdLst>
                  <a:gd name="T0" fmla="*/ 18 w 1402"/>
                  <a:gd name="T1" fmla="*/ 47 h 1851"/>
                  <a:gd name="T2" fmla="*/ 20 w 1402"/>
                  <a:gd name="T3" fmla="*/ 1831 h 1851"/>
                  <a:gd name="T4" fmla="*/ 1369 w 1402"/>
                  <a:gd name="T5" fmla="*/ 1612 h 1851"/>
                  <a:gd name="T6" fmla="*/ 18 w 1402"/>
                  <a:gd name="T7" fmla="*/ 47 h 1851"/>
                  <a:gd name="T8" fmla="*/ 0 w 1402"/>
                  <a:gd name="T9" fmla="*/ 0 h 1851"/>
                  <a:gd name="T10" fmla="*/ 16 w 1402"/>
                  <a:gd name="T11" fmla="*/ 18 h 1851"/>
                  <a:gd name="T12" fmla="*/ 1392 w 1402"/>
                  <a:gd name="T13" fmla="*/ 1613 h 1851"/>
                  <a:gd name="T14" fmla="*/ 1402 w 1402"/>
                  <a:gd name="T15" fmla="*/ 1625 h 1851"/>
                  <a:gd name="T16" fmla="*/ 1387 w 1402"/>
                  <a:gd name="T17" fmla="*/ 1627 h 1851"/>
                  <a:gd name="T18" fmla="*/ 13 w 1402"/>
                  <a:gd name="T19" fmla="*/ 1850 h 1851"/>
                  <a:gd name="T20" fmla="*/ 3 w 1402"/>
                  <a:gd name="T21" fmla="*/ 1851 h 1851"/>
                  <a:gd name="T22" fmla="*/ 3 w 1402"/>
                  <a:gd name="T23" fmla="*/ 1841 h 1851"/>
                  <a:gd name="T24" fmla="*/ 0 w 1402"/>
                  <a:gd name="T25" fmla="*/ 23 h 1851"/>
                  <a:gd name="T26" fmla="*/ 0 w 1402"/>
                  <a:gd name="T27"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2" h="1851">
                    <a:moveTo>
                      <a:pt x="18" y="47"/>
                    </a:moveTo>
                    <a:lnTo>
                      <a:pt x="20" y="1831"/>
                    </a:lnTo>
                    <a:lnTo>
                      <a:pt x="1369" y="1612"/>
                    </a:lnTo>
                    <a:lnTo>
                      <a:pt x="18" y="47"/>
                    </a:lnTo>
                    <a:close/>
                    <a:moveTo>
                      <a:pt x="0" y="0"/>
                    </a:moveTo>
                    <a:lnTo>
                      <a:pt x="16" y="18"/>
                    </a:lnTo>
                    <a:lnTo>
                      <a:pt x="1392" y="1613"/>
                    </a:lnTo>
                    <a:lnTo>
                      <a:pt x="1402" y="1625"/>
                    </a:lnTo>
                    <a:lnTo>
                      <a:pt x="1387" y="1627"/>
                    </a:lnTo>
                    <a:lnTo>
                      <a:pt x="13" y="1850"/>
                    </a:lnTo>
                    <a:lnTo>
                      <a:pt x="3" y="1851"/>
                    </a:lnTo>
                    <a:lnTo>
                      <a:pt x="3" y="1841"/>
                    </a:lnTo>
                    <a:lnTo>
                      <a:pt x="0" y="23"/>
                    </a:lnTo>
                    <a:lnTo>
                      <a:pt x="0"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53" name="Freeform 37"/>
              <p:cNvSpPr>
                <a:spLocks noEditPoints="1"/>
              </p:cNvSpPr>
              <p:nvPr/>
            </p:nvSpPr>
            <p:spPr bwMode="auto">
              <a:xfrm>
                <a:off x="4698" y="2283"/>
                <a:ext cx="354" cy="186"/>
              </a:xfrm>
              <a:custGeom>
                <a:avLst/>
                <a:gdLst>
                  <a:gd name="T0" fmla="*/ 1388 w 2121"/>
                  <a:gd name="T1" fmla="*/ 938 h 1111"/>
                  <a:gd name="T2" fmla="*/ 1351 w 2121"/>
                  <a:gd name="T3" fmla="*/ 1085 h 1111"/>
                  <a:gd name="T4" fmla="*/ 1186 w 2121"/>
                  <a:gd name="T5" fmla="*/ 1085 h 1111"/>
                  <a:gd name="T6" fmla="*/ 1149 w 2121"/>
                  <a:gd name="T7" fmla="*/ 938 h 1111"/>
                  <a:gd name="T8" fmla="*/ 842 w 2121"/>
                  <a:gd name="T9" fmla="*/ 870 h 1111"/>
                  <a:gd name="T10" fmla="*/ 968 w 2121"/>
                  <a:gd name="T11" fmla="*/ 964 h 1111"/>
                  <a:gd name="T12" fmla="*/ 900 w 2121"/>
                  <a:gd name="T13" fmla="*/ 1099 h 1111"/>
                  <a:gd name="T14" fmla="*/ 741 w 2121"/>
                  <a:gd name="T15" fmla="*/ 1066 h 1111"/>
                  <a:gd name="T16" fmla="*/ 741 w 2121"/>
                  <a:gd name="T17" fmla="*/ 916 h 1111"/>
                  <a:gd name="T18" fmla="*/ 1658 w 2121"/>
                  <a:gd name="T19" fmla="*/ 811 h 1111"/>
                  <a:gd name="T20" fmla="*/ 1760 w 2121"/>
                  <a:gd name="T21" fmla="*/ 928 h 1111"/>
                  <a:gd name="T22" fmla="*/ 1658 w 2121"/>
                  <a:gd name="T23" fmla="*/ 1045 h 1111"/>
                  <a:gd name="T24" fmla="*/ 1510 w 2121"/>
                  <a:gd name="T25" fmla="*/ 980 h 1111"/>
                  <a:gd name="T26" fmla="*/ 1545 w 2121"/>
                  <a:gd name="T27" fmla="*/ 834 h 1111"/>
                  <a:gd name="T28" fmla="*/ 546 w 2121"/>
                  <a:gd name="T29" fmla="*/ 819 h 1111"/>
                  <a:gd name="T30" fmla="*/ 615 w 2121"/>
                  <a:gd name="T31" fmla="*/ 955 h 1111"/>
                  <a:gd name="T32" fmla="*/ 489 w 2121"/>
                  <a:gd name="T33" fmla="*/ 1048 h 1111"/>
                  <a:gd name="T34" fmla="*/ 363 w 2121"/>
                  <a:gd name="T35" fmla="*/ 955 h 1111"/>
                  <a:gd name="T36" fmla="*/ 432 w 2121"/>
                  <a:gd name="T37" fmla="*/ 819 h 1111"/>
                  <a:gd name="T38" fmla="*/ 2071 w 2121"/>
                  <a:gd name="T39" fmla="*/ 791 h 1111"/>
                  <a:gd name="T40" fmla="*/ 2108 w 2121"/>
                  <a:gd name="T41" fmla="*/ 940 h 1111"/>
                  <a:gd name="T42" fmla="*/ 1958 w 2121"/>
                  <a:gd name="T43" fmla="*/ 1007 h 1111"/>
                  <a:gd name="T44" fmla="*/ 1856 w 2121"/>
                  <a:gd name="T45" fmla="*/ 887 h 1111"/>
                  <a:gd name="T46" fmla="*/ 1958 w 2121"/>
                  <a:gd name="T47" fmla="*/ 767 h 1111"/>
                  <a:gd name="T48" fmla="*/ 235 w 2121"/>
                  <a:gd name="T49" fmla="*/ 809 h 1111"/>
                  <a:gd name="T50" fmla="*/ 235 w 2121"/>
                  <a:gd name="T51" fmla="*/ 964 h 1111"/>
                  <a:gd name="T52" fmla="*/ 74 w 2121"/>
                  <a:gd name="T53" fmla="*/ 997 h 1111"/>
                  <a:gd name="T54" fmla="*/ 4 w 2121"/>
                  <a:gd name="T55" fmla="*/ 858 h 1111"/>
                  <a:gd name="T56" fmla="*/ 132 w 2121"/>
                  <a:gd name="T57" fmla="*/ 764 h 1111"/>
                  <a:gd name="T58" fmla="*/ 1388 w 2121"/>
                  <a:gd name="T59" fmla="*/ 471 h 1111"/>
                  <a:gd name="T60" fmla="*/ 1351 w 2121"/>
                  <a:gd name="T61" fmla="*/ 618 h 1111"/>
                  <a:gd name="T62" fmla="*/ 1186 w 2121"/>
                  <a:gd name="T63" fmla="*/ 618 h 1111"/>
                  <a:gd name="T64" fmla="*/ 1149 w 2121"/>
                  <a:gd name="T65" fmla="*/ 471 h 1111"/>
                  <a:gd name="T66" fmla="*/ 842 w 2121"/>
                  <a:gd name="T67" fmla="*/ 404 h 1111"/>
                  <a:gd name="T68" fmla="*/ 968 w 2121"/>
                  <a:gd name="T69" fmla="*/ 497 h 1111"/>
                  <a:gd name="T70" fmla="*/ 900 w 2121"/>
                  <a:gd name="T71" fmla="*/ 631 h 1111"/>
                  <a:gd name="T72" fmla="*/ 741 w 2121"/>
                  <a:gd name="T73" fmla="*/ 599 h 1111"/>
                  <a:gd name="T74" fmla="*/ 741 w 2121"/>
                  <a:gd name="T75" fmla="*/ 449 h 1111"/>
                  <a:gd name="T76" fmla="*/ 1658 w 2121"/>
                  <a:gd name="T77" fmla="*/ 388 h 1111"/>
                  <a:gd name="T78" fmla="*/ 1760 w 2121"/>
                  <a:gd name="T79" fmla="*/ 504 h 1111"/>
                  <a:gd name="T80" fmla="*/ 1658 w 2121"/>
                  <a:gd name="T81" fmla="*/ 622 h 1111"/>
                  <a:gd name="T82" fmla="*/ 1510 w 2121"/>
                  <a:gd name="T83" fmla="*/ 558 h 1111"/>
                  <a:gd name="T84" fmla="*/ 1545 w 2121"/>
                  <a:gd name="T85" fmla="*/ 411 h 1111"/>
                  <a:gd name="T86" fmla="*/ 558 w 2121"/>
                  <a:gd name="T87" fmla="*/ 397 h 1111"/>
                  <a:gd name="T88" fmla="*/ 628 w 2121"/>
                  <a:gd name="T89" fmla="*/ 532 h 1111"/>
                  <a:gd name="T90" fmla="*/ 502 w 2121"/>
                  <a:gd name="T91" fmla="*/ 624 h 1111"/>
                  <a:gd name="T92" fmla="*/ 376 w 2121"/>
                  <a:gd name="T93" fmla="*/ 532 h 1111"/>
                  <a:gd name="T94" fmla="*/ 445 w 2121"/>
                  <a:gd name="T95" fmla="*/ 397 h 1111"/>
                  <a:gd name="T96" fmla="*/ 1351 w 2121"/>
                  <a:gd name="T97" fmla="*/ 26 h 1111"/>
                  <a:gd name="T98" fmla="*/ 1388 w 2121"/>
                  <a:gd name="T99" fmla="*/ 173 h 1111"/>
                  <a:gd name="T100" fmla="*/ 1238 w 2121"/>
                  <a:gd name="T101" fmla="*/ 236 h 1111"/>
                  <a:gd name="T102" fmla="*/ 1136 w 2121"/>
                  <a:gd name="T103" fmla="*/ 120 h 1111"/>
                  <a:gd name="T104" fmla="*/ 1238 w 2121"/>
                  <a:gd name="T105" fmla="*/ 3 h 1111"/>
                  <a:gd name="T106" fmla="*/ 943 w 2121"/>
                  <a:gd name="T107" fmla="*/ 44 h 1111"/>
                  <a:gd name="T108" fmla="*/ 943 w 2121"/>
                  <a:gd name="T109" fmla="*/ 195 h 1111"/>
                  <a:gd name="T110" fmla="*/ 785 w 2121"/>
                  <a:gd name="T111" fmla="*/ 227 h 1111"/>
                  <a:gd name="T112" fmla="*/ 717 w 2121"/>
                  <a:gd name="T113" fmla="*/ 92 h 1111"/>
                  <a:gd name="T114" fmla="*/ 842 w 2121"/>
                  <a:gd name="T115" fmla="*/ 0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21" h="1111">
                    <a:moveTo>
                      <a:pt x="1269" y="870"/>
                    </a:moveTo>
                    <a:lnTo>
                      <a:pt x="1299" y="874"/>
                    </a:lnTo>
                    <a:lnTo>
                      <a:pt x="1327" y="883"/>
                    </a:lnTo>
                    <a:lnTo>
                      <a:pt x="1351" y="897"/>
                    </a:lnTo>
                    <a:lnTo>
                      <a:pt x="1372" y="916"/>
                    </a:lnTo>
                    <a:lnTo>
                      <a:pt x="1388" y="938"/>
                    </a:lnTo>
                    <a:lnTo>
                      <a:pt x="1398" y="964"/>
                    </a:lnTo>
                    <a:lnTo>
                      <a:pt x="1401" y="991"/>
                    </a:lnTo>
                    <a:lnTo>
                      <a:pt x="1398" y="1018"/>
                    </a:lnTo>
                    <a:lnTo>
                      <a:pt x="1388" y="1043"/>
                    </a:lnTo>
                    <a:lnTo>
                      <a:pt x="1372" y="1066"/>
                    </a:lnTo>
                    <a:lnTo>
                      <a:pt x="1351" y="1085"/>
                    </a:lnTo>
                    <a:lnTo>
                      <a:pt x="1327" y="1099"/>
                    </a:lnTo>
                    <a:lnTo>
                      <a:pt x="1299" y="1108"/>
                    </a:lnTo>
                    <a:lnTo>
                      <a:pt x="1269" y="1111"/>
                    </a:lnTo>
                    <a:lnTo>
                      <a:pt x="1238" y="1108"/>
                    </a:lnTo>
                    <a:lnTo>
                      <a:pt x="1210" y="1099"/>
                    </a:lnTo>
                    <a:lnTo>
                      <a:pt x="1186" y="1085"/>
                    </a:lnTo>
                    <a:lnTo>
                      <a:pt x="1165" y="1066"/>
                    </a:lnTo>
                    <a:lnTo>
                      <a:pt x="1149" y="1043"/>
                    </a:lnTo>
                    <a:lnTo>
                      <a:pt x="1139" y="1018"/>
                    </a:lnTo>
                    <a:lnTo>
                      <a:pt x="1136" y="991"/>
                    </a:lnTo>
                    <a:lnTo>
                      <a:pt x="1139" y="964"/>
                    </a:lnTo>
                    <a:lnTo>
                      <a:pt x="1149" y="938"/>
                    </a:lnTo>
                    <a:lnTo>
                      <a:pt x="1165" y="916"/>
                    </a:lnTo>
                    <a:lnTo>
                      <a:pt x="1186" y="897"/>
                    </a:lnTo>
                    <a:lnTo>
                      <a:pt x="1210" y="883"/>
                    </a:lnTo>
                    <a:lnTo>
                      <a:pt x="1238" y="874"/>
                    </a:lnTo>
                    <a:lnTo>
                      <a:pt x="1269" y="870"/>
                    </a:lnTo>
                    <a:close/>
                    <a:moveTo>
                      <a:pt x="842" y="870"/>
                    </a:moveTo>
                    <a:lnTo>
                      <a:pt x="872" y="874"/>
                    </a:lnTo>
                    <a:lnTo>
                      <a:pt x="900" y="883"/>
                    </a:lnTo>
                    <a:lnTo>
                      <a:pt x="923" y="897"/>
                    </a:lnTo>
                    <a:lnTo>
                      <a:pt x="943" y="916"/>
                    </a:lnTo>
                    <a:lnTo>
                      <a:pt x="958" y="938"/>
                    </a:lnTo>
                    <a:lnTo>
                      <a:pt x="968" y="964"/>
                    </a:lnTo>
                    <a:lnTo>
                      <a:pt x="972" y="991"/>
                    </a:lnTo>
                    <a:lnTo>
                      <a:pt x="968" y="1018"/>
                    </a:lnTo>
                    <a:lnTo>
                      <a:pt x="958" y="1043"/>
                    </a:lnTo>
                    <a:lnTo>
                      <a:pt x="943" y="1066"/>
                    </a:lnTo>
                    <a:lnTo>
                      <a:pt x="923" y="1085"/>
                    </a:lnTo>
                    <a:lnTo>
                      <a:pt x="900" y="1099"/>
                    </a:lnTo>
                    <a:lnTo>
                      <a:pt x="872" y="1108"/>
                    </a:lnTo>
                    <a:lnTo>
                      <a:pt x="842" y="1111"/>
                    </a:lnTo>
                    <a:lnTo>
                      <a:pt x="813" y="1108"/>
                    </a:lnTo>
                    <a:lnTo>
                      <a:pt x="785" y="1099"/>
                    </a:lnTo>
                    <a:lnTo>
                      <a:pt x="761" y="1085"/>
                    </a:lnTo>
                    <a:lnTo>
                      <a:pt x="741" y="1066"/>
                    </a:lnTo>
                    <a:lnTo>
                      <a:pt x="727" y="1043"/>
                    </a:lnTo>
                    <a:lnTo>
                      <a:pt x="717" y="1018"/>
                    </a:lnTo>
                    <a:lnTo>
                      <a:pt x="713" y="991"/>
                    </a:lnTo>
                    <a:lnTo>
                      <a:pt x="717" y="964"/>
                    </a:lnTo>
                    <a:lnTo>
                      <a:pt x="727" y="938"/>
                    </a:lnTo>
                    <a:lnTo>
                      <a:pt x="741" y="916"/>
                    </a:lnTo>
                    <a:lnTo>
                      <a:pt x="761" y="897"/>
                    </a:lnTo>
                    <a:lnTo>
                      <a:pt x="785" y="883"/>
                    </a:lnTo>
                    <a:lnTo>
                      <a:pt x="813" y="874"/>
                    </a:lnTo>
                    <a:lnTo>
                      <a:pt x="842" y="870"/>
                    </a:lnTo>
                    <a:close/>
                    <a:moveTo>
                      <a:pt x="1628" y="807"/>
                    </a:moveTo>
                    <a:lnTo>
                      <a:pt x="1658" y="811"/>
                    </a:lnTo>
                    <a:lnTo>
                      <a:pt x="1686" y="819"/>
                    </a:lnTo>
                    <a:lnTo>
                      <a:pt x="1712" y="834"/>
                    </a:lnTo>
                    <a:lnTo>
                      <a:pt x="1732" y="853"/>
                    </a:lnTo>
                    <a:lnTo>
                      <a:pt x="1747" y="875"/>
                    </a:lnTo>
                    <a:lnTo>
                      <a:pt x="1757" y="900"/>
                    </a:lnTo>
                    <a:lnTo>
                      <a:pt x="1760" y="928"/>
                    </a:lnTo>
                    <a:lnTo>
                      <a:pt x="1757" y="955"/>
                    </a:lnTo>
                    <a:lnTo>
                      <a:pt x="1747" y="980"/>
                    </a:lnTo>
                    <a:lnTo>
                      <a:pt x="1732" y="1002"/>
                    </a:lnTo>
                    <a:lnTo>
                      <a:pt x="1712" y="1021"/>
                    </a:lnTo>
                    <a:lnTo>
                      <a:pt x="1686" y="1036"/>
                    </a:lnTo>
                    <a:lnTo>
                      <a:pt x="1658" y="1045"/>
                    </a:lnTo>
                    <a:lnTo>
                      <a:pt x="1628" y="1048"/>
                    </a:lnTo>
                    <a:lnTo>
                      <a:pt x="1598" y="1045"/>
                    </a:lnTo>
                    <a:lnTo>
                      <a:pt x="1570" y="1036"/>
                    </a:lnTo>
                    <a:lnTo>
                      <a:pt x="1545" y="1021"/>
                    </a:lnTo>
                    <a:lnTo>
                      <a:pt x="1525" y="1002"/>
                    </a:lnTo>
                    <a:lnTo>
                      <a:pt x="1510" y="980"/>
                    </a:lnTo>
                    <a:lnTo>
                      <a:pt x="1500" y="955"/>
                    </a:lnTo>
                    <a:lnTo>
                      <a:pt x="1495" y="928"/>
                    </a:lnTo>
                    <a:lnTo>
                      <a:pt x="1500" y="900"/>
                    </a:lnTo>
                    <a:lnTo>
                      <a:pt x="1510" y="875"/>
                    </a:lnTo>
                    <a:lnTo>
                      <a:pt x="1525" y="853"/>
                    </a:lnTo>
                    <a:lnTo>
                      <a:pt x="1545" y="834"/>
                    </a:lnTo>
                    <a:lnTo>
                      <a:pt x="1570" y="819"/>
                    </a:lnTo>
                    <a:lnTo>
                      <a:pt x="1598" y="811"/>
                    </a:lnTo>
                    <a:lnTo>
                      <a:pt x="1628" y="807"/>
                    </a:lnTo>
                    <a:close/>
                    <a:moveTo>
                      <a:pt x="489" y="807"/>
                    </a:moveTo>
                    <a:lnTo>
                      <a:pt x="518" y="811"/>
                    </a:lnTo>
                    <a:lnTo>
                      <a:pt x="546" y="819"/>
                    </a:lnTo>
                    <a:lnTo>
                      <a:pt x="570" y="834"/>
                    </a:lnTo>
                    <a:lnTo>
                      <a:pt x="590" y="853"/>
                    </a:lnTo>
                    <a:lnTo>
                      <a:pt x="606" y="875"/>
                    </a:lnTo>
                    <a:lnTo>
                      <a:pt x="615" y="900"/>
                    </a:lnTo>
                    <a:lnTo>
                      <a:pt x="618" y="928"/>
                    </a:lnTo>
                    <a:lnTo>
                      <a:pt x="615" y="955"/>
                    </a:lnTo>
                    <a:lnTo>
                      <a:pt x="606" y="980"/>
                    </a:lnTo>
                    <a:lnTo>
                      <a:pt x="590" y="1002"/>
                    </a:lnTo>
                    <a:lnTo>
                      <a:pt x="570" y="1021"/>
                    </a:lnTo>
                    <a:lnTo>
                      <a:pt x="546" y="1036"/>
                    </a:lnTo>
                    <a:lnTo>
                      <a:pt x="518" y="1045"/>
                    </a:lnTo>
                    <a:lnTo>
                      <a:pt x="489" y="1048"/>
                    </a:lnTo>
                    <a:lnTo>
                      <a:pt x="459" y="1045"/>
                    </a:lnTo>
                    <a:lnTo>
                      <a:pt x="432" y="1036"/>
                    </a:lnTo>
                    <a:lnTo>
                      <a:pt x="408" y="1021"/>
                    </a:lnTo>
                    <a:lnTo>
                      <a:pt x="388" y="1002"/>
                    </a:lnTo>
                    <a:lnTo>
                      <a:pt x="373" y="980"/>
                    </a:lnTo>
                    <a:lnTo>
                      <a:pt x="363" y="955"/>
                    </a:lnTo>
                    <a:lnTo>
                      <a:pt x="360" y="928"/>
                    </a:lnTo>
                    <a:lnTo>
                      <a:pt x="363" y="900"/>
                    </a:lnTo>
                    <a:lnTo>
                      <a:pt x="373" y="875"/>
                    </a:lnTo>
                    <a:lnTo>
                      <a:pt x="388" y="853"/>
                    </a:lnTo>
                    <a:lnTo>
                      <a:pt x="408" y="834"/>
                    </a:lnTo>
                    <a:lnTo>
                      <a:pt x="432" y="819"/>
                    </a:lnTo>
                    <a:lnTo>
                      <a:pt x="459" y="811"/>
                    </a:lnTo>
                    <a:lnTo>
                      <a:pt x="489" y="807"/>
                    </a:lnTo>
                    <a:close/>
                    <a:moveTo>
                      <a:pt x="1988" y="764"/>
                    </a:moveTo>
                    <a:lnTo>
                      <a:pt x="2019" y="767"/>
                    </a:lnTo>
                    <a:lnTo>
                      <a:pt x="2047" y="776"/>
                    </a:lnTo>
                    <a:lnTo>
                      <a:pt x="2071" y="791"/>
                    </a:lnTo>
                    <a:lnTo>
                      <a:pt x="2092" y="809"/>
                    </a:lnTo>
                    <a:lnTo>
                      <a:pt x="2108" y="833"/>
                    </a:lnTo>
                    <a:lnTo>
                      <a:pt x="2118" y="858"/>
                    </a:lnTo>
                    <a:lnTo>
                      <a:pt x="2121" y="887"/>
                    </a:lnTo>
                    <a:lnTo>
                      <a:pt x="2118" y="915"/>
                    </a:lnTo>
                    <a:lnTo>
                      <a:pt x="2108" y="940"/>
                    </a:lnTo>
                    <a:lnTo>
                      <a:pt x="2092" y="964"/>
                    </a:lnTo>
                    <a:lnTo>
                      <a:pt x="2071" y="982"/>
                    </a:lnTo>
                    <a:lnTo>
                      <a:pt x="2047" y="997"/>
                    </a:lnTo>
                    <a:lnTo>
                      <a:pt x="2019" y="1007"/>
                    </a:lnTo>
                    <a:lnTo>
                      <a:pt x="1988" y="1010"/>
                    </a:lnTo>
                    <a:lnTo>
                      <a:pt x="1958" y="1007"/>
                    </a:lnTo>
                    <a:lnTo>
                      <a:pt x="1930" y="997"/>
                    </a:lnTo>
                    <a:lnTo>
                      <a:pt x="1906" y="982"/>
                    </a:lnTo>
                    <a:lnTo>
                      <a:pt x="1885" y="964"/>
                    </a:lnTo>
                    <a:lnTo>
                      <a:pt x="1869" y="940"/>
                    </a:lnTo>
                    <a:lnTo>
                      <a:pt x="1859" y="915"/>
                    </a:lnTo>
                    <a:lnTo>
                      <a:pt x="1856" y="887"/>
                    </a:lnTo>
                    <a:lnTo>
                      <a:pt x="1859" y="858"/>
                    </a:lnTo>
                    <a:lnTo>
                      <a:pt x="1869" y="833"/>
                    </a:lnTo>
                    <a:lnTo>
                      <a:pt x="1885" y="809"/>
                    </a:lnTo>
                    <a:lnTo>
                      <a:pt x="1906" y="791"/>
                    </a:lnTo>
                    <a:lnTo>
                      <a:pt x="1930" y="776"/>
                    </a:lnTo>
                    <a:lnTo>
                      <a:pt x="1958" y="767"/>
                    </a:lnTo>
                    <a:lnTo>
                      <a:pt x="1988" y="764"/>
                    </a:lnTo>
                    <a:close/>
                    <a:moveTo>
                      <a:pt x="132" y="764"/>
                    </a:moveTo>
                    <a:lnTo>
                      <a:pt x="163" y="767"/>
                    </a:lnTo>
                    <a:lnTo>
                      <a:pt x="191" y="776"/>
                    </a:lnTo>
                    <a:lnTo>
                      <a:pt x="215" y="791"/>
                    </a:lnTo>
                    <a:lnTo>
                      <a:pt x="235" y="809"/>
                    </a:lnTo>
                    <a:lnTo>
                      <a:pt x="252" y="833"/>
                    </a:lnTo>
                    <a:lnTo>
                      <a:pt x="261" y="858"/>
                    </a:lnTo>
                    <a:lnTo>
                      <a:pt x="265" y="887"/>
                    </a:lnTo>
                    <a:lnTo>
                      <a:pt x="261" y="915"/>
                    </a:lnTo>
                    <a:lnTo>
                      <a:pt x="252" y="940"/>
                    </a:lnTo>
                    <a:lnTo>
                      <a:pt x="235" y="964"/>
                    </a:lnTo>
                    <a:lnTo>
                      <a:pt x="215" y="982"/>
                    </a:lnTo>
                    <a:lnTo>
                      <a:pt x="191" y="997"/>
                    </a:lnTo>
                    <a:lnTo>
                      <a:pt x="163" y="1007"/>
                    </a:lnTo>
                    <a:lnTo>
                      <a:pt x="132" y="1010"/>
                    </a:lnTo>
                    <a:lnTo>
                      <a:pt x="102" y="1007"/>
                    </a:lnTo>
                    <a:lnTo>
                      <a:pt x="74" y="997"/>
                    </a:lnTo>
                    <a:lnTo>
                      <a:pt x="49" y="982"/>
                    </a:lnTo>
                    <a:lnTo>
                      <a:pt x="29" y="964"/>
                    </a:lnTo>
                    <a:lnTo>
                      <a:pt x="13" y="940"/>
                    </a:lnTo>
                    <a:lnTo>
                      <a:pt x="4" y="915"/>
                    </a:lnTo>
                    <a:lnTo>
                      <a:pt x="0" y="887"/>
                    </a:lnTo>
                    <a:lnTo>
                      <a:pt x="4" y="858"/>
                    </a:lnTo>
                    <a:lnTo>
                      <a:pt x="13" y="833"/>
                    </a:lnTo>
                    <a:lnTo>
                      <a:pt x="29" y="809"/>
                    </a:lnTo>
                    <a:lnTo>
                      <a:pt x="49" y="791"/>
                    </a:lnTo>
                    <a:lnTo>
                      <a:pt x="74" y="776"/>
                    </a:lnTo>
                    <a:lnTo>
                      <a:pt x="102" y="767"/>
                    </a:lnTo>
                    <a:lnTo>
                      <a:pt x="132" y="764"/>
                    </a:lnTo>
                    <a:close/>
                    <a:moveTo>
                      <a:pt x="1269" y="404"/>
                    </a:moveTo>
                    <a:lnTo>
                      <a:pt x="1299" y="407"/>
                    </a:lnTo>
                    <a:lnTo>
                      <a:pt x="1327" y="416"/>
                    </a:lnTo>
                    <a:lnTo>
                      <a:pt x="1351" y="430"/>
                    </a:lnTo>
                    <a:lnTo>
                      <a:pt x="1372" y="449"/>
                    </a:lnTo>
                    <a:lnTo>
                      <a:pt x="1388" y="471"/>
                    </a:lnTo>
                    <a:lnTo>
                      <a:pt x="1398" y="497"/>
                    </a:lnTo>
                    <a:lnTo>
                      <a:pt x="1401" y="523"/>
                    </a:lnTo>
                    <a:lnTo>
                      <a:pt x="1398" y="551"/>
                    </a:lnTo>
                    <a:lnTo>
                      <a:pt x="1388" y="577"/>
                    </a:lnTo>
                    <a:lnTo>
                      <a:pt x="1372" y="599"/>
                    </a:lnTo>
                    <a:lnTo>
                      <a:pt x="1351" y="618"/>
                    </a:lnTo>
                    <a:lnTo>
                      <a:pt x="1327" y="631"/>
                    </a:lnTo>
                    <a:lnTo>
                      <a:pt x="1299" y="641"/>
                    </a:lnTo>
                    <a:lnTo>
                      <a:pt x="1269" y="643"/>
                    </a:lnTo>
                    <a:lnTo>
                      <a:pt x="1238" y="641"/>
                    </a:lnTo>
                    <a:lnTo>
                      <a:pt x="1210" y="631"/>
                    </a:lnTo>
                    <a:lnTo>
                      <a:pt x="1186" y="618"/>
                    </a:lnTo>
                    <a:lnTo>
                      <a:pt x="1165" y="599"/>
                    </a:lnTo>
                    <a:lnTo>
                      <a:pt x="1149" y="577"/>
                    </a:lnTo>
                    <a:lnTo>
                      <a:pt x="1139" y="551"/>
                    </a:lnTo>
                    <a:lnTo>
                      <a:pt x="1136" y="523"/>
                    </a:lnTo>
                    <a:lnTo>
                      <a:pt x="1139" y="497"/>
                    </a:lnTo>
                    <a:lnTo>
                      <a:pt x="1149" y="471"/>
                    </a:lnTo>
                    <a:lnTo>
                      <a:pt x="1165" y="449"/>
                    </a:lnTo>
                    <a:lnTo>
                      <a:pt x="1186" y="430"/>
                    </a:lnTo>
                    <a:lnTo>
                      <a:pt x="1210" y="416"/>
                    </a:lnTo>
                    <a:lnTo>
                      <a:pt x="1238" y="407"/>
                    </a:lnTo>
                    <a:lnTo>
                      <a:pt x="1269" y="404"/>
                    </a:lnTo>
                    <a:close/>
                    <a:moveTo>
                      <a:pt x="842" y="404"/>
                    </a:moveTo>
                    <a:lnTo>
                      <a:pt x="872" y="407"/>
                    </a:lnTo>
                    <a:lnTo>
                      <a:pt x="900" y="416"/>
                    </a:lnTo>
                    <a:lnTo>
                      <a:pt x="923" y="430"/>
                    </a:lnTo>
                    <a:lnTo>
                      <a:pt x="943" y="449"/>
                    </a:lnTo>
                    <a:lnTo>
                      <a:pt x="958" y="471"/>
                    </a:lnTo>
                    <a:lnTo>
                      <a:pt x="968" y="497"/>
                    </a:lnTo>
                    <a:lnTo>
                      <a:pt x="972" y="523"/>
                    </a:lnTo>
                    <a:lnTo>
                      <a:pt x="968" y="551"/>
                    </a:lnTo>
                    <a:lnTo>
                      <a:pt x="958" y="577"/>
                    </a:lnTo>
                    <a:lnTo>
                      <a:pt x="943" y="599"/>
                    </a:lnTo>
                    <a:lnTo>
                      <a:pt x="923" y="618"/>
                    </a:lnTo>
                    <a:lnTo>
                      <a:pt x="900" y="631"/>
                    </a:lnTo>
                    <a:lnTo>
                      <a:pt x="872" y="641"/>
                    </a:lnTo>
                    <a:lnTo>
                      <a:pt x="842" y="643"/>
                    </a:lnTo>
                    <a:lnTo>
                      <a:pt x="813" y="641"/>
                    </a:lnTo>
                    <a:lnTo>
                      <a:pt x="785" y="631"/>
                    </a:lnTo>
                    <a:lnTo>
                      <a:pt x="761" y="618"/>
                    </a:lnTo>
                    <a:lnTo>
                      <a:pt x="741" y="599"/>
                    </a:lnTo>
                    <a:lnTo>
                      <a:pt x="727" y="577"/>
                    </a:lnTo>
                    <a:lnTo>
                      <a:pt x="717" y="551"/>
                    </a:lnTo>
                    <a:lnTo>
                      <a:pt x="713" y="523"/>
                    </a:lnTo>
                    <a:lnTo>
                      <a:pt x="717" y="497"/>
                    </a:lnTo>
                    <a:lnTo>
                      <a:pt x="727" y="471"/>
                    </a:lnTo>
                    <a:lnTo>
                      <a:pt x="741" y="449"/>
                    </a:lnTo>
                    <a:lnTo>
                      <a:pt x="761" y="430"/>
                    </a:lnTo>
                    <a:lnTo>
                      <a:pt x="785" y="416"/>
                    </a:lnTo>
                    <a:lnTo>
                      <a:pt x="813" y="407"/>
                    </a:lnTo>
                    <a:lnTo>
                      <a:pt x="842" y="404"/>
                    </a:lnTo>
                    <a:close/>
                    <a:moveTo>
                      <a:pt x="1628" y="385"/>
                    </a:moveTo>
                    <a:lnTo>
                      <a:pt x="1658" y="388"/>
                    </a:lnTo>
                    <a:lnTo>
                      <a:pt x="1686" y="397"/>
                    </a:lnTo>
                    <a:lnTo>
                      <a:pt x="1712" y="411"/>
                    </a:lnTo>
                    <a:lnTo>
                      <a:pt x="1732" y="430"/>
                    </a:lnTo>
                    <a:lnTo>
                      <a:pt x="1747" y="452"/>
                    </a:lnTo>
                    <a:lnTo>
                      <a:pt x="1757" y="477"/>
                    </a:lnTo>
                    <a:lnTo>
                      <a:pt x="1760" y="504"/>
                    </a:lnTo>
                    <a:lnTo>
                      <a:pt x="1757" y="532"/>
                    </a:lnTo>
                    <a:lnTo>
                      <a:pt x="1747" y="558"/>
                    </a:lnTo>
                    <a:lnTo>
                      <a:pt x="1732" y="580"/>
                    </a:lnTo>
                    <a:lnTo>
                      <a:pt x="1712" y="599"/>
                    </a:lnTo>
                    <a:lnTo>
                      <a:pt x="1686" y="612"/>
                    </a:lnTo>
                    <a:lnTo>
                      <a:pt x="1658" y="622"/>
                    </a:lnTo>
                    <a:lnTo>
                      <a:pt x="1628" y="624"/>
                    </a:lnTo>
                    <a:lnTo>
                      <a:pt x="1598" y="622"/>
                    </a:lnTo>
                    <a:lnTo>
                      <a:pt x="1570" y="612"/>
                    </a:lnTo>
                    <a:lnTo>
                      <a:pt x="1545" y="599"/>
                    </a:lnTo>
                    <a:lnTo>
                      <a:pt x="1525" y="580"/>
                    </a:lnTo>
                    <a:lnTo>
                      <a:pt x="1510" y="558"/>
                    </a:lnTo>
                    <a:lnTo>
                      <a:pt x="1500" y="532"/>
                    </a:lnTo>
                    <a:lnTo>
                      <a:pt x="1495" y="504"/>
                    </a:lnTo>
                    <a:lnTo>
                      <a:pt x="1500" y="477"/>
                    </a:lnTo>
                    <a:lnTo>
                      <a:pt x="1510" y="452"/>
                    </a:lnTo>
                    <a:lnTo>
                      <a:pt x="1525" y="430"/>
                    </a:lnTo>
                    <a:lnTo>
                      <a:pt x="1545" y="411"/>
                    </a:lnTo>
                    <a:lnTo>
                      <a:pt x="1570" y="397"/>
                    </a:lnTo>
                    <a:lnTo>
                      <a:pt x="1598" y="388"/>
                    </a:lnTo>
                    <a:lnTo>
                      <a:pt x="1628" y="385"/>
                    </a:lnTo>
                    <a:close/>
                    <a:moveTo>
                      <a:pt x="502" y="385"/>
                    </a:moveTo>
                    <a:lnTo>
                      <a:pt x="531" y="388"/>
                    </a:lnTo>
                    <a:lnTo>
                      <a:pt x="558" y="397"/>
                    </a:lnTo>
                    <a:lnTo>
                      <a:pt x="582" y="411"/>
                    </a:lnTo>
                    <a:lnTo>
                      <a:pt x="602" y="430"/>
                    </a:lnTo>
                    <a:lnTo>
                      <a:pt x="618" y="452"/>
                    </a:lnTo>
                    <a:lnTo>
                      <a:pt x="628" y="477"/>
                    </a:lnTo>
                    <a:lnTo>
                      <a:pt x="631" y="504"/>
                    </a:lnTo>
                    <a:lnTo>
                      <a:pt x="628" y="532"/>
                    </a:lnTo>
                    <a:lnTo>
                      <a:pt x="618" y="558"/>
                    </a:lnTo>
                    <a:lnTo>
                      <a:pt x="602" y="580"/>
                    </a:lnTo>
                    <a:lnTo>
                      <a:pt x="582" y="599"/>
                    </a:lnTo>
                    <a:lnTo>
                      <a:pt x="558" y="612"/>
                    </a:lnTo>
                    <a:lnTo>
                      <a:pt x="531" y="622"/>
                    </a:lnTo>
                    <a:lnTo>
                      <a:pt x="502" y="624"/>
                    </a:lnTo>
                    <a:lnTo>
                      <a:pt x="472" y="622"/>
                    </a:lnTo>
                    <a:lnTo>
                      <a:pt x="445" y="612"/>
                    </a:lnTo>
                    <a:lnTo>
                      <a:pt x="421" y="599"/>
                    </a:lnTo>
                    <a:lnTo>
                      <a:pt x="401" y="580"/>
                    </a:lnTo>
                    <a:lnTo>
                      <a:pt x="385" y="558"/>
                    </a:lnTo>
                    <a:lnTo>
                      <a:pt x="376" y="532"/>
                    </a:lnTo>
                    <a:lnTo>
                      <a:pt x="372" y="504"/>
                    </a:lnTo>
                    <a:lnTo>
                      <a:pt x="376" y="477"/>
                    </a:lnTo>
                    <a:lnTo>
                      <a:pt x="385" y="452"/>
                    </a:lnTo>
                    <a:lnTo>
                      <a:pt x="401" y="430"/>
                    </a:lnTo>
                    <a:lnTo>
                      <a:pt x="421" y="411"/>
                    </a:lnTo>
                    <a:lnTo>
                      <a:pt x="445" y="397"/>
                    </a:lnTo>
                    <a:lnTo>
                      <a:pt x="472" y="388"/>
                    </a:lnTo>
                    <a:lnTo>
                      <a:pt x="502" y="385"/>
                    </a:lnTo>
                    <a:close/>
                    <a:moveTo>
                      <a:pt x="1269" y="0"/>
                    </a:moveTo>
                    <a:lnTo>
                      <a:pt x="1299" y="3"/>
                    </a:lnTo>
                    <a:lnTo>
                      <a:pt x="1327" y="12"/>
                    </a:lnTo>
                    <a:lnTo>
                      <a:pt x="1351" y="26"/>
                    </a:lnTo>
                    <a:lnTo>
                      <a:pt x="1372" y="44"/>
                    </a:lnTo>
                    <a:lnTo>
                      <a:pt x="1388" y="67"/>
                    </a:lnTo>
                    <a:lnTo>
                      <a:pt x="1398" y="92"/>
                    </a:lnTo>
                    <a:lnTo>
                      <a:pt x="1401" y="120"/>
                    </a:lnTo>
                    <a:lnTo>
                      <a:pt x="1398" y="147"/>
                    </a:lnTo>
                    <a:lnTo>
                      <a:pt x="1388" y="173"/>
                    </a:lnTo>
                    <a:lnTo>
                      <a:pt x="1372" y="195"/>
                    </a:lnTo>
                    <a:lnTo>
                      <a:pt x="1351" y="214"/>
                    </a:lnTo>
                    <a:lnTo>
                      <a:pt x="1327" y="227"/>
                    </a:lnTo>
                    <a:lnTo>
                      <a:pt x="1299" y="236"/>
                    </a:lnTo>
                    <a:lnTo>
                      <a:pt x="1269" y="239"/>
                    </a:lnTo>
                    <a:lnTo>
                      <a:pt x="1238" y="236"/>
                    </a:lnTo>
                    <a:lnTo>
                      <a:pt x="1210" y="227"/>
                    </a:lnTo>
                    <a:lnTo>
                      <a:pt x="1186" y="214"/>
                    </a:lnTo>
                    <a:lnTo>
                      <a:pt x="1165" y="195"/>
                    </a:lnTo>
                    <a:lnTo>
                      <a:pt x="1149" y="173"/>
                    </a:lnTo>
                    <a:lnTo>
                      <a:pt x="1139" y="147"/>
                    </a:lnTo>
                    <a:lnTo>
                      <a:pt x="1136" y="120"/>
                    </a:lnTo>
                    <a:lnTo>
                      <a:pt x="1139" y="92"/>
                    </a:lnTo>
                    <a:lnTo>
                      <a:pt x="1149" y="67"/>
                    </a:lnTo>
                    <a:lnTo>
                      <a:pt x="1165" y="44"/>
                    </a:lnTo>
                    <a:lnTo>
                      <a:pt x="1186" y="26"/>
                    </a:lnTo>
                    <a:lnTo>
                      <a:pt x="1210" y="12"/>
                    </a:lnTo>
                    <a:lnTo>
                      <a:pt x="1238" y="3"/>
                    </a:lnTo>
                    <a:lnTo>
                      <a:pt x="1269" y="0"/>
                    </a:lnTo>
                    <a:close/>
                    <a:moveTo>
                      <a:pt x="842" y="0"/>
                    </a:moveTo>
                    <a:lnTo>
                      <a:pt x="872" y="3"/>
                    </a:lnTo>
                    <a:lnTo>
                      <a:pt x="900" y="12"/>
                    </a:lnTo>
                    <a:lnTo>
                      <a:pt x="923" y="26"/>
                    </a:lnTo>
                    <a:lnTo>
                      <a:pt x="943" y="44"/>
                    </a:lnTo>
                    <a:lnTo>
                      <a:pt x="958" y="67"/>
                    </a:lnTo>
                    <a:lnTo>
                      <a:pt x="968" y="92"/>
                    </a:lnTo>
                    <a:lnTo>
                      <a:pt x="972" y="120"/>
                    </a:lnTo>
                    <a:lnTo>
                      <a:pt x="968" y="147"/>
                    </a:lnTo>
                    <a:lnTo>
                      <a:pt x="958" y="173"/>
                    </a:lnTo>
                    <a:lnTo>
                      <a:pt x="943" y="195"/>
                    </a:lnTo>
                    <a:lnTo>
                      <a:pt x="923" y="214"/>
                    </a:lnTo>
                    <a:lnTo>
                      <a:pt x="900" y="227"/>
                    </a:lnTo>
                    <a:lnTo>
                      <a:pt x="872" y="236"/>
                    </a:lnTo>
                    <a:lnTo>
                      <a:pt x="842" y="239"/>
                    </a:lnTo>
                    <a:lnTo>
                      <a:pt x="813" y="236"/>
                    </a:lnTo>
                    <a:lnTo>
                      <a:pt x="785" y="227"/>
                    </a:lnTo>
                    <a:lnTo>
                      <a:pt x="761" y="214"/>
                    </a:lnTo>
                    <a:lnTo>
                      <a:pt x="741" y="195"/>
                    </a:lnTo>
                    <a:lnTo>
                      <a:pt x="727" y="173"/>
                    </a:lnTo>
                    <a:lnTo>
                      <a:pt x="717" y="147"/>
                    </a:lnTo>
                    <a:lnTo>
                      <a:pt x="713" y="120"/>
                    </a:lnTo>
                    <a:lnTo>
                      <a:pt x="717" y="92"/>
                    </a:lnTo>
                    <a:lnTo>
                      <a:pt x="727" y="67"/>
                    </a:lnTo>
                    <a:lnTo>
                      <a:pt x="741" y="44"/>
                    </a:lnTo>
                    <a:lnTo>
                      <a:pt x="761" y="26"/>
                    </a:lnTo>
                    <a:lnTo>
                      <a:pt x="785" y="12"/>
                    </a:lnTo>
                    <a:lnTo>
                      <a:pt x="813" y="3"/>
                    </a:lnTo>
                    <a:lnTo>
                      <a:pt x="842"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54" name="Freeform 38"/>
              <p:cNvSpPr>
                <a:spLocks noEditPoints="1"/>
              </p:cNvSpPr>
              <p:nvPr/>
            </p:nvSpPr>
            <p:spPr bwMode="auto">
              <a:xfrm>
                <a:off x="4736" y="2309"/>
                <a:ext cx="286" cy="141"/>
              </a:xfrm>
              <a:custGeom>
                <a:avLst/>
                <a:gdLst>
                  <a:gd name="T0" fmla="*/ 1003 w 1716"/>
                  <a:gd name="T1" fmla="*/ 510 h 845"/>
                  <a:gd name="T2" fmla="*/ 981 w 1716"/>
                  <a:gd name="T3" fmla="*/ 594 h 845"/>
                  <a:gd name="T4" fmla="*/ 920 w 1716"/>
                  <a:gd name="T5" fmla="*/ 688 h 845"/>
                  <a:gd name="T6" fmla="*/ 876 w 1716"/>
                  <a:gd name="T7" fmla="*/ 764 h 845"/>
                  <a:gd name="T8" fmla="*/ 960 w 1716"/>
                  <a:gd name="T9" fmla="*/ 797 h 845"/>
                  <a:gd name="T10" fmla="*/ 975 w 1716"/>
                  <a:gd name="T11" fmla="*/ 786 h 845"/>
                  <a:gd name="T12" fmla="*/ 970 w 1716"/>
                  <a:gd name="T13" fmla="*/ 771 h 845"/>
                  <a:gd name="T14" fmla="*/ 982 w 1716"/>
                  <a:gd name="T15" fmla="*/ 773 h 845"/>
                  <a:gd name="T16" fmla="*/ 981 w 1716"/>
                  <a:gd name="T17" fmla="*/ 774 h 845"/>
                  <a:gd name="T18" fmla="*/ 988 w 1716"/>
                  <a:gd name="T19" fmla="*/ 786 h 845"/>
                  <a:gd name="T20" fmla="*/ 1000 w 1716"/>
                  <a:gd name="T21" fmla="*/ 806 h 845"/>
                  <a:gd name="T22" fmla="*/ 988 w 1716"/>
                  <a:gd name="T23" fmla="*/ 813 h 845"/>
                  <a:gd name="T24" fmla="*/ 869 w 1716"/>
                  <a:gd name="T25" fmla="*/ 772 h 845"/>
                  <a:gd name="T26" fmla="*/ 770 w 1716"/>
                  <a:gd name="T27" fmla="*/ 800 h 845"/>
                  <a:gd name="T28" fmla="*/ 662 w 1716"/>
                  <a:gd name="T29" fmla="*/ 837 h 845"/>
                  <a:gd name="T30" fmla="*/ 622 w 1716"/>
                  <a:gd name="T31" fmla="*/ 845 h 845"/>
                  <a:gd name="T32" fmla="*/ 614 w 1716"/>
                  <a:gd name="T33" fmla="*/ 835 h 845"/>
                  <a:gd name="T34" fmla="*/ 619 w 1716"/>
                  <a:gd name="T35" fmla="*/ 831 h 845"/>
                  <a:gd name="T36" fmla="*/ 697 w 1716"/>
                  <a:gd name="T37" fmla="*/ 817 h 845"/>
                  <a:gd name="T38" fmla="*/ 795 w 1716"/>
                  <a:gd name="T39" fmla="*/ 774 h 845"/>
                  <a:gd name="T40" fmla="*/ 788 w 1716"/>
                  <a:gd name="T41" fmla="*/ 714 h 845"/>
                  <a:gd name="T42" fmla="*/ 703 w 1716"/>
                  <a:gd name="T43" fmla="*/ 612 h 845"/>
                  <a:gd name="T44" fmla="*/ 669 w 1716"/>
                  <a:gd name="T45" fmla="*/ 522 h 845"/>
                  <a:gd name="T46" fmla="*/ 678 w 1716"/>
                  <a:gd name="T47" fmla="*/ 466 h 845"/>
                  <a:gd name="T48" fmla="*/ 688 w 1716"/>
                  <a:gd name="T49" fmla="*/ 551 h 845"/>
                  <a:gd name="T50" fmla="*/ 729 w 1716"/>
                  <a:gd name="T51" fmla="*/ 632 h 845"/>
                  <a:gd name="T52" fmla="*/ 821 w 1716"/>
                  <a:gd name="T53" fmla="*/ 728 h 845"/>
                  <a:gd name="T54" fmla="*/ 912 w 1716"/>
                  <a:gd name="T55" fmla="*/ 680 h 845"/>
                  <a:gd name="T56" fmla="*/ 971 w 1716"/>
                  <a:gd name="T57" fmla="*/ 590 h 845"/>
                  <a:gd name="T58" fmla="*/ 992 w 1716"/>
                  <a:gd name="T59" fmla="*/ 510 h 845"/>
                  <a:gd name="T60" fmla="*/ 1003 w 1716"/>
                  <a:gd name="T61" fmla="*/ 458 h 845"/>
                  <a:gd name="T62" fmla="*/ 1116 w 1716"/>
                  <a:gd name="T63" fmla="*/ 441 h 845"/>
                  <a:gd name="T64" fmla="*/ 361 w 1716"/>
                  <a:gd name="T65" fmla="*/ 694 h 845"/>
                  <a:gd name="T66" fmla="*/ 1052 w 1716"/>
                  <a:gd name="T67" fmla="*/ 65 h 845"/>
                  <a:gd name="T68" fmla="*/ 524 w 1716"/>
                  <a:gd name="T69" fmla="*/ 44 h 845"/>
                  <a:gd name="T70" fmla="*/ 524 w 1716"/>
                  <a:gd name="T71" fmla="*/ 44 h 845"/>
                  <a:gd name="T72" fmla="*/ 610 w 1716"/>
                  <a:gd name="T73" fmla="*/ 733 h 845"/>
                  <a:gd name="T74" fmla="*/ 1708 w 1716"/>
                  <a:gd name="T75" fmla="*/ 687 h 845"/>
                  <a:gd name="T76" fmla="*/ 975 w 1716"/>
                  <a:gd name="T77" fmla="*/ 6 h 845"/>
                  <a:gd name="T78" fmla="*/ 916 w 1716"/>
                  <a:gd name="T79" fmla="*/ 61 h 845"/>
                  <a:gd name="T80" fmla="*/ 855 w 1716"/>
                  <a:gd name="T81" fmla="*/ 83 h 845"/>
                  <a:gd name="T82" fmla="*/ 770 w 1716"/>
                  <a:gd name="T83" fmla="*/ 82 h 845"/>
                  <a:gd name="T84" fmla="*/ 699 w 1716"/>
                  <a:gd name="T85" fmla="*/ 59 h 845"/>
                  <a:gd name="T86" fmla="*/ 686 w 1716"/>
                  <a:gd name="T87" fmla="*/ 40 h 845"/>
                  <a:gd name="T88" fmla="*/ 770 w 1716"/>
                  <a:gd name="T89" fmla="*/ 71 h 845"/>
                  <a:gd name="T90" fmla="*/ 855 w 1716"/>
                  <a:gd name="T91" fmla="*/ 72 h 845"/>
                  <a:gd name="T92" fmla="*/ 909 w 1716"/>
                  <a:gd name="T93" fmla="*/ 53 h 845"/>
                  <a:gd name="T94" fmla="*/ 966 w 1716"/>
                  <a:gd name="T95"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16" h="845">
                    <a:moveTo>
                      <a:pt x="1003" y="458"/>
                    </a:moveTo>
                    <a:lnTo>
                      <a:pt x="1004" y="476"/>
                    </a:lnTo>
                    <a:lnTo>
                      <a:pt x="1004" y="494"/>
                    </a:lnTo>
                    <a:lnTo>
                      <a:pt x="1003" y="510"/>
                    </a:lnTo>
                    <a:lnTo>
                      <a:pt x="1001" y="528"/>
                    </a:lnTo>
                    <a:lnTo>
                      <a:pt x="997" y="545"/>
                    </a:lnTo>
                    <a:lnTo>
                      <a:pt x="993" y="561"/>
                    </a:lnTo>
                    <a:lnTo>
                      <a:pt x="981" y="594"/>
                    </a:lnTo>
                    <a:lnTo>
                      <a:pt x="978" y="598"/>
                    </a:lnTo>
                    <a:lnTo>
                      <a:pt x="963" y="629"/>
                    </a:lnTo>
                    <a:lnTo>
                      <a:pt x="943" y="659"/>
                    </a:lnTo>
                    <a:lnTo>
                      <a:pt x="920" y="688"/>
                    </a:lnTo>
                    <a:lnTo>
                      <a:pt x="894" y="714"/>
                    </a:lnTo>
                    <a:lnTo>
                      <a:pt x="865" y="739"/>
                    </a:lnTo>
                    <a:lnTo>
                      <a:pt x="852" y="750"/>
                    </a:lnTo>
                    <a:lnTo>
                      <a:pt x="876" y="764"/>
                    </a:lnTo>
                    <a:lnTo>
                      <a:pt x="905" y="779"/>
                    </a:lnTo>
                    <a:lnTo>
                      <a:pt x="905" y="779"/>
                    </a:lnTo>
                    <a:lnTo>
                      <a:pt x="931" y="789"/>
                    </a:lnTo>
                    <a:lnTo>
                      <a:pt x="960" y="797"/>
                    </a:lnTo>
                    <a:lnTo>
                      <a:pt x="986" y="802"/>
                    </a:lnTo>
                    <a:lnTo>
                      <a:pt x="986" y="801"/>
                    </a:lnTo>
                    <a:lnTo>
                      <a:pt x="981" y="794"/>
                    </a:lnTo>
                    <a:lnTo>
                      <a:pt x="975" y="786"/>
                    </a:lnTo>
                    <a:lnTo>
                      <a:pt x="972" y="781"/>
                    </a:lnTo>
                    <a:lnTo>
                      <a:pt x="971" y="776"/>
                    </a:lnTo>
                    <a:lnTo>
                      <a:pt x="970" y="774"/>
                    </a:lnTo>
                    <a:lnTo>
                      <a:pt x="970" y="771"/>
                    </a:lnTo>
                    <a:lnTo>
                      <a:pt x="972" y="767"/>
                    </a:lnTo>
                    <a:lnTo>
                      <a:pt x="974" y="765"/>
                    </a:lnTo>
                    <a:lnTo>
                      <a:pt x="981" y="763"/>
                    </a:lnTo>
                    <a:lnTo>
                      <a:pt x="982" y="773"/>
                    </a:lnTo>
                    <a:lnTo>
                      <a:pt x="982" y="773"/>
                    </a:lnTo>
                    <a:lnTo>
                      <a:pt x="982" y="773"/>
                    </a:lnTo>
                    <a:lnTo>
                      <a:pt x="982" y="774"/>
                    </a:lnTo>
                    <a:lnTo>
                      <a:pt x="981" y="774"/>
                    </a:lnTo>
                    <a:lnTo>
                      <a:pt x="982" y="776"/>
                    </a:lnTo>
                    <a:lnTo>
                      <a:pt x="982" y="776"/>
                    </a:lnTo>
                    <a:lnTo>
                      <a:pt x="983" y="779"/>
                    </a:lnTo>
                    <a:lnTo>
                      <a:pt x="988" y="786"/>
                    </a:lnTo>
                    <a:lnTo>
                      <a:pt x="994" y="793"/>
                    </a:lnTo>
                    <a:lnTo>
                      <a:pt x="997" y="799"/>
                    </a:lnTo>
                    <a:lnTo>
                      <a:pt x="1000" y="803"/>
                    </a:lnTo>
                    <a:lnTo>
                      <a:pt x="1000" y="806"/>
                    </a:lnTo>
                    <a:lnTo>
                      <a:pt x="997" y="811"/>
                    </a:lnTo>
                    <a:lnTo>
                      <a:pt x="996" y="812"/>
                    </a:lnTo>
                    <a:lnTo>
                      <a:pt x="992" y="813"/>
                    </a:lnTo>
                    <a:lnTo>
                      <a:pt x="988" y="813"/>
                    </a:lnTo>
                    <a:lnTo>
                      <a:pt x="960" y="809"/>
                    </a:lnTo>
                    <a:lnTo>
                      <a:pt x="931" y="800"/>
                    </a:lnTo>
                    <a:lnTo>
                      <a:pt x="902" y="789"/>
                    </a:lnTo>
                    <a:lnTo>
                      <a:pt x="869" y="772"/>
                    </a:lnTo>
                    <a:lnTo>
                      <a:pt x="843" y="756"/>
                    </a:lnTo>
                    <a:lnTo>
                      <a:pt x="835" y="762"/>
                    </a:lnTo>
                    <a:lnTo>
                      <a:pt x="803" y="782"/>
                    </a:lnTo>
                    <a:lnTo>
                      <a:pt x="770" y="800"/>
                    </a:lnTo>
                    <a:lnTo>
                      <a:pt x="736" y="814"/>
                    </a:lnTo>
                    <a:lnTo>
                      <a:pt x="732" y="816"/>
                    </a:lnTo>
                    <a:lnTo>
                      <a:pt x="697" y="828"/>
                    </a:lnTo>
                    <a:lnTo>
                      <a:pt x="662" y="837"/>
                    </a:lnTo>
                    <a:lnTo>
                      <a:pt x="629" y="843"/>
                    </a:lnTo>
                    <a:lnTo>
                      <a:pt x="627" y="844"/>
                    </a:lnTo>
                    <a:lnTo>
                      <a:pt x="626" y="844"/>
                    </a:lnTo>
                    <a:lnTo>
                      <a:pt x="622" y="845"/>
                    </a:lnTo>
                    <a:lnTo>
                      <a:pt x="618" y="845"/>
                    </a:lnTo>
                    <a:lnTo>
                      <a:pt x="614" y="843"/>
                    </a:lnTo>
                    <a:lnTo>
                      <a:pt x="612" y="840"/>
                    </a:lnTo>
                    <a:lnTo>
                      <a:pt x="614" y="835"/>
                    </a:lnTo>
                    <a:lnTo>
                      <a:pt x="615" y="835"/>
                    </a:lnTo>
                    <a:lnTo>
                      <a:pt x="618" y="833"/>
                    </a:lnTo>
                    <a:lnTo>
                      <a:pt x="619" y="833"/>
                    </a:lnTo>
                    <a:lnTo>
                      <a:pt x="619" y="831"/>
                    </a:lnTo>
                    <a:lnTo>
                      <a:pt x="622" y="832"/>
                    </a:lnTo>
                    <a:lnTo>
                      <a:pt x="627" y="832"/>
                    </a:lnTo>
                    <a:lnTo>
                      <a:pt x="662" y="826"/>
                    </a:lnTo>
                    <a:lnTo>
                      <a:pt x="697" y="817"/>
                    </a:lnTo>
                    <a:lnTo>
                      <a:pt x="728" y="806"/>
                    </a:lnTo>
                    <a:lnTo>
                      <a:pt x="728" y="806"/>
                    </a:lnTo>
                    <a:lnTo>
                      <a:pt x="762" y="792"/>
                    </a:lnTo>
                    <a:lnTo>
                      <a:pt x="795" y="774"/>
                    </a:lnTo>
                    <a:lnTo>
                      <a:pt x="828" y="754"/>
                    </a:lnTo>
                    <a:lnTo>
                      <a:pt x="833" y="750"/>
                    </a:lnTo>
                    <a:lnTo>
                      <a:pt x="813" y="735"/>
                    </a:lnTo>
                    <a:lnTo>
                      <a:pt x="788" y="714"/>
                    </a:lnTo>
                    <a:lnTo>
                      <a:pt x="763" y="691"/>
                    </a:lnTo>
                    <a:lnTo>
                      <a:pt x="741" y="665"/>
                    </a:lnTo>
                    <a:lnTo>
                      <a:pt x="721" y="640"/>
                    </a:lnTo>
                    <a:lnTo>
                      <a:pt x="703" y="612"/>
                    </a:lnTo>
                    <a:lnTo>
                      <a:pt x="689" y="584"/>
                    </a:lnTo>
                    <a:lnTo>
                      <a:pt x="688" y="580"/>
                    </a:lnTo>
                    <a:lnTo>
                      <a:pt x="677" y="551"/>
                    </a:lnTo>
                    <a:lnTo>
                      <a:pt x="669" y="522"/>
                    </a:lnTo>
                    <a:lnTo>
                      <a:pt x="666" y="494"/>
                    </a:lnTo>
                    <a:lnTo>
                      <a:pt x="666" y="479"/>
                    </a:lnTo>
                    <a:lnTo>
                      <a:pt x="667" y="465"/>
                    </a:lnTo>
                    <a:lnTo>
                      <a:pt x="678" y="466"/>
                    </a:lnTo>
                    <a:lnTo>
                      <a:pt x="677" y="479"/>
                    </a:lnTo>
                    <a:lnTo>
                      <a:pt x="677" y="494"/>
                    </a:lnTo>
                    <a:lnTo>
                      <a:pt x="680" y="522"/>
                    </a:lnTo>
                    <a:lnTo>
                      <a:pt x="688" y="551"/>
                    </a:lnTo>
                    <a:lnTo>
                      <a:pt x="699" y="580"/>
                    </a:lnTo>
                    <a:lnTo>
                      <a:pt x="699" y="580"/>
                    </a:lnTo>
                    <a:lnTo>
                      <a:pt x="711" y="604"/>
                    </a:lnTo>
                    <a:lnTo>
                      <a:pt x="729" y="632"/>
                    </a:lnTo>
                    <a:lnTo>
                      <a:pt x="749" y="658"/>
                    </a:lnTo>
                    <a:lnTo>
                      <a:pt x="771" y="683"/>
                    </a:lnTo>
                    <a:lnTo>
                      <a:pt x="795" y="706"/>
                    </a:lnTo>
                    <a:lnTo>
                      <a:pt x="821" y="728"/>
                    </a:lnTo>
                    <a:lnTo>
                      <a:pt x="842" y="743"/>
                    </a:lnTo>
                    <a:lnTo>
                      <a:pt x="858" y="731"/>
                    </a:lnTo>
                    <a:lnTo>
                      <a:pt x="886" y="706"/>
                    </a:lnTo>
                    <a:lnTo>
                      <a:pt x="912" y="680"/>
                    </a:lnTo>
                    <a:lnTo>
                      <a:pt x="935" y="651"/>
                    </a:lnTo>
                    <a:lnTo>
                      <a:pt x="955" y="621"/>
                    </a:lnTo>
                    <a:lnTo>
                      <a:pt x="971" y="590"/>
                    </a:lnTo>
                    <a:lnTo>
                      <a:pt x="971" y="590"/>
                    </a:lnTo>
                    <a:lnTo>
                      <a:pt x="982" y="561"/>
                    </a:lnTo>
                    <a:lnTo>
                      <a:pt x="986" y="545"/>
                    </a:lnTo>
                    <a:lnTo>
                      <a:pt x="990" y="528"/>
                    </a:lnTo>
                    <a:lnTo>
                      <a:pt x="992" y="510"/>
                    </a:lnTo>
                    <a:lnTo>
                      <a:pt x="993" y="494"/>
                    </a:lnTo>
                    <a:lnTo>
                      <a:pt x="993" y="476"/>
                    </a:lnTo>
                    <a:lnTo>
                      <a:pt x="992" y="459"/>
                    </a:lnTo>
                    <a:lnTo>
                      <a:pt x="1003" y="458"/>
                    </a:lnTo>
                    <a:close/>
                    <a:moveTo>
                      <a:pt x="1125" y="435"/>
                    </a:moveTo>
                    <a:lnTo>
                      <a:pt x="1319" y="688"/>
                    </a:lnTo>
                    <a:lnTo>
                      <a:pt x="1310" y="694"/>
                    </a:lnTo>
                    <a:lnTo>
                      <a:pt x="1116" y="441"/>
                    </a:lnTo>
                    <a:lnTo>
                      <a:pt x="1125" y="435"/>
                    </a:lnTo>
                    <a:close/>
                    <a:moveTo>
                      <a:pt x="536" y="435"/>
                    </a:moveTo>
                    <a:lnTo>
                      <a:pt x="545" y="441"/>
                    </a:lnTo>
                    <a:lnTo>
                      <a:pt x="361" y="694"/>
                    </a:lnTo>
                    <a:lnTo>
                      <a:pt x="352" y="688"/>
                    </a:lnTo>
                    <a:lnTo>
                      <a:pt x="536" y="435"/>
                    </a:lnTo>
                    <a:close/>
                    <a:moveTo>
                      <a:pt x="1041" y="65"/>
                    </a:moveTo>
                    <a:lnTo>
                      <a:pt x="1052" y="65"/>
                    </a:lnTo>
                    <a:lnTo>
                      <a:pt x="1052" y="755"/>
                    </a:lnTo>
                    <a:lnTo>
                      <a:pt x="1041" y="755"/>
                    </a:lnTo>
                    <a:lnTo>
                      <a:pt x="1041" y="65"/>
                    </a:lnTo>
                    <a:close/>
                    <a:moveTo>
                      <a:pt x="524" y="44"/>
                    </a:moveTo>
                    <a:lnTo>
                      <a:pt x="532" y="52"/>
                    </a:lnTo>
                    <a:lnTo>
                      <a:pt x="8" y="650"/>
                    </a:lnTo>
                    <a:lnTo>
                      <a:pt x="0" y="642"/>
                    </a:lnTo>
                    <a:lnTo>
                      <a:pt x="524" y="44"/>
                    </a:lnTo>
                    <a:close/>
                    <a:moveTo>
                      <a:pt x="610" y="11"/>
                    </a:moveTo>
                    <a:lnTo>
                      <a:pt x="621" y="11"/>
                    </a:lnTo>
                    <a:lnTo>
                      <a:pt x="621" y="733"/>
                    </a:lnTo>
                    <a:lnTo>
                      <a:pt x="610" y="733"/>
                    </a:lnTo>
                    <a:lnTo>
                      <a:pt x="610" y="11"/>
                    </a:lnTo>
                    <a:close/>
                    <a:moveTo>
                      <a:pt x="1106" y="7"/>
                    </a:moveTo>
                    <a:lnTo>
                      <a:pt x="1716" y="679"/>
                    </a:lnTo>
                    <a:lnTo>
                      <a:pt x="1708" y="687"/>
                    </a:lnTo>
                    <a:lnTo>
                      <a:pt x="1098" y="14"/>
                    </a:lnTo>
                    <a:lnTo>
                      <a:pt x="1106" y="7"/>
                    </a:lnTo>
                    <a:close/>
                    <a:moveTo>
                      <a:pt x="966" y="0"/>
                    </a:moveTo>
                    <a:lnTo>
                      <a:pt x="975" y="6"/>
                    </a:lnTo>
                    <a:lnTo>
                      <a:pt x="962" y="22"/>
                    </a:lnTo>
                    <a:lnTo>
                      <a:pt x="949" y="38"/>
                    </a:lnTo>
                    <a:lnTo>
                      <a:pt x="933" y="50"/>
                    </a:lnTo>
                    <a:lnTo>
                      <a:pt x="916" y="61"/>
                    </a:lnTo>
                    <a:lnTo>
                      <a:pt x="899" y="70"/>
                    </a:lnTo>
                    <a:lnTo>
                      <a:pt x="894" y="71"/>
                    </a:lnTo>
                    <a:lnTo>
                      <a:pt x="875" y="78"/>
                    </a:lnTo>
                    <a:lnTo>
                      <a:pt x="855" y="83"/>
                    </a:lnTo>
                    <a:lnTo>
                      <a:pt x="834" y="85"/>
                    </a:lnTo>
                    <a:lnTo>
                      <a:pt x="813" y="86"/>
                    </a:lnTo>
                    <a:lnTo>
                      <a:pt x="792" y="85"/>
                    </a:lnTo>
                    <a:lnTo>
                      <a:pt x="770" y="82"/>
                    </a:lnTo>
                    <a:lnTo>
                      <a:pt x="748" y="77"/>
                    </a:lnTo>
                    <a:lnTo>
                      <a:pt x="726" y="70"/>
                    </a:lnTo>
                    <a:lnTo>
                      <a:pt x="721" y="68"/>
                    </a:lnTo>
                    <a:lnTo>
                      <a:pt x="699" y="59"/>
                    </a:lnTo>
                    <a:lnTo>
                      <a:pt x="678" y="48"/>
                    </a:lnTo>
                    <a:lnTo>
                      <a:pt x="657" y="34"/>
                    </a:lnTo>
                    <a:lnTo>
                      <a:pt x="663" y="25"/>
                    </a:lnTo>
                    <a:lnTo>
                      <a:pt x="686" y="40"/>
                    </a:lnTo>
                    <a:lnTo>
                      <a:pt x="707" y="51"/>
                    </a:lnTo>
                    <a:lnTo>
                      <a:pt x="728" y="60"/>
                    </a:lnTo>
                    <a:lnTo>
                      <a:pt x="748" y="65"/>
                    </a:lnTo>
                    <a:lnTo>
                      <a:pt x="770" y="71"/>
                    </a:lnTo>
                    <a:lnTo>
                      <a:pt x="792" y="74"/>
                    </a:lnTo>
                    <a:lnTo>
                      <a:pt x="813" y="75"/>
                    </a:lnTo>
                    <a:lnTo>
                      <a:pt x="834" y="74"/>
                    </a:lnTo>
                    <a:lnTo>
                      <a:pt x="855" y="72"/>
                    </a:lnTo>
                    <a:lnTo>
                      <a:pt x="875" y="67"/>
                    </a:lnTo>
                    <a:lnTo>
                      <a:pt x="894" y="60"/>
                    </a:lnTo>
                    <a:lnTo>
                      <a:pt x="894" y="61"/>
                    </a:lnTo>
                    <a:lnTo>
                      <a:pt x="909" y="53"/>
                    </a:lnTo>
                    <a:lnTo>
                      <a:pt x="925" y="42"/>
                    </a:lnTo>
                    <a:lnTo>
                      <a:pt x="941" y="30"/>
                    </a:lnTo>
                    <a:lnTo>
                      <a:pt x="954" y="14"/>
                    </a:lnTo>
                    <a:lnTo>
                      <a:pt x="966" y="0"/>
                    </a:lnTo>
                    <a:close/>
                  </a:path>
                </a:pathLst>
              </a:custGeom>
              <a:solidFill>
                <a:srgbClr val="237E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spTree>
    <p:extLst>
      <p:ext uri="{BB962C8B-B14F-4D97-AF65-F5344CB8AC3E}">
        <p14:creationId xmlns:p14="http://schemas.microsoft.com/office/powerpoint/2010/main" val="346271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wipe(left)">
                                      <p:cBhvr>
                                        <p:cTn id="26" dur="500"/>
                                        <p:tgtEl>
                                          <p:spTgt spid="29"/>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fade">
                                      <p:cBhvr>
                                        <p:cTn id="30" dur="500"/>
                                        <p:tgtEl>
                                          <p:spTgt spid="41"/>
                                        </p:tgtEl>
                                      </p:cBhvr>
                                    </p:animEffect>
                                  </p:childTnLst>
                                </p:cTn>
                              </p:par>
                            </p:childTnLst>
                          </p:cTn>
                        </p:par>
                        <p:par>
                          <p:cTn id="31" fill="hold">
                            <p:stCondLst>
                              <p:cond delay="1000"/>
                            </p:stCondLst>
                            <p:childTnLst>
                              <p:par>
                                <p:cTn id="32" presetID="22" presetClass="entr" presetSubtype="8" fill="hold" nodeType="after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wipe(left)">
                                      <p:cBhvr>
                                        <p:cTn id="34" dur="500"/>
                                        <p:tgtEl>
                                          <p:spTgt spid="30"/>
                                        </p:tgtEl>
                                      </p:cBhvr>
                                    </p:animEffect>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fade">
                                      <p:cBhvr>
                                        <p:cTn id="38" dur="500"/>
                                        <p:tgtEl>
                                          <p:spTgt spid="47"/>
                                        </p:tgtEl>
                                      </p:cBhvr>
                                    </p:animEffect>
                                  </p:childTnLst>
                                </p:cTn>
                              </p:par>
                            </p:childTnLst>
                          </p:cTn>
                        </p:par>
                        <p:par>
                          <p:cTn id="39" fill="hold">
                            <p:stCondLst>
                              <p:cond delay="2000"/>
                            </p:stCondLst>
                            <p:childTnLst>
                              <p:par>
                                <p:cTn id="40" presetID="22" presetClass="entr" presetSubtype="8" fill="hold" nodeType="after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wipe(left)">
                                      <p:cBhvr>
                                        <p:cTn id="42" dur="500"/>
                                        <p:tgtEl>
                                          <p:spTgt spid="31"/>
                                        </p:tgtEl>
                                      </p:cBhvr>
                                    </p:animEffect>
                                  </p:childTnLst>
                                </p:cTn>
                              </p:par>
                            </p:childTnLst>
                          </p:cTn>
                        </p:par>
                        <p:par>
                          <p:cTn id="43" fill="hold">
                            <p:stCondLst>
                              <p:cond delay="2500"/>
                            </p:stCondLst>
                            <p:childTnLst>
                              <p:par>
                                <p:cTn id="44" presetID="22" presetClass="entr" presetSubtype="4" fill="hold" nodeType="after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wipe(down)">
                                      <p:cBhvr>
                                        <p:cTn id="46" dur="500"/>
                                        <p:tgtEl>
                                          <p:spTgt spid="33"/>
                                        </p:tgtEl>
                                      </p:cBhvr>
                                    </p:animEffect>
                                  </p:childTnLst>
                                </p:cTn>
                              </p:par>
                            </p:childTnLst>
                          </p:cTn>
                        </p:par>
                        <p:par>
                          <p:cTn id="47" fill="hold">
                            <p:stCondLst>
                              <p:cond delay="3000"/>
                            </p:stCondLst>
                            <p:childTnLst>
                              <p:par>
                                <p:cTn id="48" presetID="10" presetClass="entr" presetSubtype="0" fill="hold" nodeType="after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6"/>
                                        </p:tgtEl>
                                        <p:attrNameLst>
                                          <p:attrName>style.visibility</p:attrName>
                                        </p:attrNameLst>
                                      </p:cBhvr>
                                      <p:to>
                                        <p:strVal val="visible"/>
                                      </p:to>
                                    </p:set>
                                    <p:animEffect transition="in" filter="fade">
                                      <p:cBhvr>
                                        <p:cTn id="53" dur="500"/>
                                        <p:tgtEl>
                                          <p:spTgt spid="6"/>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28"/>
                                        </p:tgtEl>
                                        <p:attrNameLst>
                                          <p:attrName>style.visibility</p:attrName>
                                        </p:attrNameLst>
                                      </p:cBhvr>
                                      <p:to>
                                        <p:strVal val="visible"/>
                                      </p:to>
                                    </p:set>
                                    <p:animEffect transition="in" filter="wipe(left)">
                                      <p:cBhvr>
                                        <p:cTn id="58" dur="500"/>
                                        <p:tgtEl>
                                          <p:spTgt spid="28"/>
                                        </p:tgtEl>
                                      </p:cBhvr>
                                    </p:animEffect>
                                  </p:childTnLst>
                                </p:cTn>
                              </p:par>
                            </p:childTnLst>
                          </p:cTn>
                        </p:par>
                        <p:par>
                          <p:cTn id="59" fill="hold">
                            <p:stCondLst>
                              <p:cond delay="500"/>
                            </p:stCondLst>
                            <p:childTnLst>
                              <p:par>
                                <p:cTn id="60" presetID="10" presetClass="entr" presetSubtype="0" fill="hold" nodeType="after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fade">
                                      <p:cBhvr>
                                        <p:cTn id="62" dur="500"/>
                                        <p:tgtEl>
                                          <p:spTgt spid="1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8"/>
                                        </p:tgtEl>
                                        <p:attrNameLst>
                                          <p:attrName>style.visibility</p:attrName>
                                        </p:attrNameLst>
                                      </p:cBhvr>
                                      <p:to>
                                        <p:strVal val="visible"/>
                                      </p:to>
                                    </p:set>
                                    <p:animEffect transition="in" filter="fade">
                                      <p:cBhvr>
                                        <p:cTn id="65" dur="500"/>
                                        <p:tgtEl>
                                          <p:spTgt spid="8"/>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nodeType="click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wipe(left)">
                                      <p:cBhvr>
                                        <p:cTn id="70" dur="500"/>
                                        <p:tgtEl>
                                          <p:spTgt spid="32"/>
                                        </p:tgtEl>
                                      </p:cBhvr>
                                    </p:animEffect>
                                  </p:childTnLst>
                                </p:cTn>
                              </p:par>
                            </p:childTnLst>
                          </p:cTn>
                        </p:par>
                        <p:par>
                          <p:cTn id="71" fill="hold">
                            <p:stCondLst>
                              <p:cond delay="500"/>
                            </p:stCondLst>
                            <p:childTnLst>
                              <p:par>
                                <p:cTn id="72" presetID="10" presetClass="entr" presetSubtype="0" fill="hold" nodeType="afterEffect">
                                  <p:stCondLst>
                                    <p:cond delay="0"/>
                                  </p:stCondLst>
                                  <p:childTnLst>
                                    <p:set>
                                      <p:cBhvr>
                                        <p:cTn id="73" dur="1" fill="hold">
                                          <p:stCondLst>
                                            <p:cond delay="0"/>
                                          </p:stCondLst>
                                        </p:cTn>
                                        <p:tgtEl>
                                          <p:spTgt spid="19"/>
                                        </p:tgtEl>
                                        <p:attrNameLst>
                                          <p:attrName>style.visibility</p:attrName>
                                        </p:attrNameLst>
                                      </p:cBhvr>
                                      <p:to>
                                        <p:strVal val="visible"/>
                                      </p:to>
                                    </p:set>
                                    <p:animEffect transition="in" filter="fade">
                                      <p:cBhvr>
                                        <p:cTn id="74" dur="500"/>
                                        <p:tgtEl>
                                          <p:spTgt spid="19"/>
                                        </p:tgtEl>
                                      </p:cBhvr>
                                    </p:animEffect>
                                  </p:childTnLst>
                                </p:cTn>
                              </p:par>
                            </p:childTnLst>
                          </p:cTn>
                        </p:par>
                        <p:par>
                          <p:cTn id="75" fill="hold">
                            <p:stCondLst>
                              <p:cond delay="1000"/>
                            </p:stCondLst>
                            <p:childTnLst>
                              <p:par>
                                <p:cTn id="76" presetID="22" presetClass="entr" presetSubtype="1" fill="hold" nodeType="afterEffect">
                                  <p:stCondLst>
                                    <p:cond delay="0"/>
                                  </p:stCondLst>
                                  <p:childTnLst>
                                    <p:set>
                                      <p:cBhvr>
                                        <p:cTn id="77" dur="1" fill="hold">
                                          <p:stCondLst>
                                            <p:cond delay="0"/>
                                          </p:stCondLst>
                                        </p:cTn>
                                        <p:tgtEl>
                                          <p:spTgt spid="34"/>
                                        </p:tgtEl>
                                        <p:attrNameLst>
                                          <p:attrName>style.visibility</p:attrName>
                                        </p:attrNameLst>
                                      </p:cBhvr>
                                      <p:to>
                                        <p:strVal val="visible"/>
                                      </p:to>
                                    </p:set>
                                    <p:animEffect transition="in" filter="wipe(up)">
                                      <p:cBhvr>
                                        <p:cTn id="78" dur="500"/>
                                        <p:tgtEl>
                                          <p:spTgt spid="34"/>
                                        </p:tgtEl>
                                      </p:cBhvr>
                                    </p:animEffect>
                                  </p:childTnLst>
                                </p:cTn>
                              </p:par>
                            </p:childTnLst>
                          </p:cTn>
                        </p:par>
                        <p:par>
                          <p:cTn id="79" fill="hold">
                            <p:stCondLst>
                              <p:cond delay="1500"/>
                            </p:stCondLst>
                            <p:childTnLst>
                              <p:par>
                                <p:cTn id="80" presetID="10" presetClass="entr" presetSubtype="0" fill="hold" grpId="0" nodeType="afterEffect">
                                  <p:stCondLst>
                                    <p:cond delay="0"/>
                                  </p:stCondLst>
                                  <p:childTnLst>
                                    <p:set>
                                      <p:cBhvr>
                                        <p:cTn id="81" dur="1" fill="hold">
                                          <p:stCondLst>
                                            <p:cond delay="0"/>
                                          </p:stCondLst>
                                        </p:cTn>
                                        <p:tgtEl>
                                          <p:spTgt spid="10"/>
                                        </p:tgtEl>
                                        <p:attrNameLst>
                                          <p:attrName>style.visibility</p:attrName>
                                        </p:attrNameLst>
                                      </p:cBhvr>
                                      <p:to>
                                        <p:strVal val="visible"/>
                                      </p:to>
                                    </p:set>
                                    <p:animEffect transition="in" filter="fade">
                                      <p:cBhvr>
                                        <p:cTn id="8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800" dirty="0" smtClean="0"/>
              <a:t>On the client</a:t>
            </a:r>
          </a:p>
          <a:p>
            <a:r>
              <a:rPr lang="en-US" sz="2400" dirty="0">
                <a:latin typeface="+mn-lt"/>
              </a:rPr>
              <a:t>Ensure your app manifest has the right capabilities</a:t>
            </a:r>
          </a:p>
          <a:p>
            <a:pPr lvl="2"/>
            <a:r>
              <a:rPr lang="en-US" sz="2400" dirty="0">
                <a:latin typeface="+mn-lt"/>
              </a:rPr>
              <a:t>WebAuthenticationBroker should be invoked in SSO mode</a:t>
            </a:r>
            <a:br>
              <a:rPr lang="en-US" sz="2400" dirty="0">
                <a:latin typeface="+mn-lt"/>
              </a:rPr>
            </a:br>
            <a:r>
              <a:rPr lang="en-US" sz="2000" dirty="0"/>
              <a:t>In AAL: you should use the </a:t>
            </a:r>
            <a:r>
              <a:rPr lang="en-US" sz="2000" dirty="0" err="1"/>
              <a:t>AcquireTokenAsync</a:t>
            </a:r>
            <a:r>
              <a:rPr lang="en-US" sz="2000" dirty="0"/>
              <a:t>(resource, </a:t>
            </a:r>
            <a:r>
              <a:rPr lang="en-US" sz="2000" dirty="0" err="1"/>
              <a:t>clientid</a:t>
            </a:r>
            <a:r>
              <a:rPr lang="en-US" sz="2000" dirty="0"/>
              <a:t>) overload</a:t>
            </a:r>
          </a:p>
          <a:p>
            <a:r>
              <a:rPr lang="en-US" sz="2400" dirty="0">
                <a:latin typeface="+mn-lt"/>
              </a:rPr>
              <a:t>In ADFS</a:t>
            </a:r>
          </a:p>
          <a:p>
            <a:pPr lvl="1"/>
            <a:r>
              <a:rPr lang="en-US" sz="2400" dirty="0"/>
              <a:t>Server-wide: enable device authentication</a:t>
            </a:r>
          </a:p>
          <a:p>
            <a:pPr lvl="1"/>
            <a:r>
              <a:rPr lang="en-US" sz="2400" dirty="0"/>
              <a:t>Per-RP: Add device-related issuance authorization rules </a:t>
            </a:r>
          </a:p>
        </p:txBody>
      </p:sp>
      <p:sp>
        <p:nvSpPr>
          <p:cNvPr id="4" name="Content Placeholder 3"/>
          <p:cNvSpPr>
            <a:spLocks noGrp="1"/>
          </p:cNvSpPr>
          <p:nvPr>
            <p:ph type="body" sz="quarter" idx="11"/>
          </p:nvPr>
        </p:nvSpPr>
        <p:spPr/>
        <p:txBody>
          <a:bodyPr/>
          <a:lstStyle/>
          <a:p>
            <a:r>
              <a:rPr lang="en-US" sz="2000" dirty="0" smtClean="0"/>
              <a:t>Some constraints about how authentication should take place to apply device-aware access policies </a:t>
            </a:r>
          </a:p>
        </p:txBody>
      </p:sp>
      <p:sp>
        <p:nvSpPr>
          <p:cNvPr id="3" name="Title 2"/>
          <p:cNvSpPr>
            <a:spLocks noGrp="1"/>
          </p:cNvSpPr>
          <p:nvPr>
            <p:ph type="title"/>
          </p:nvPr>
        </p:nvSpPr>
        <p:spPr/>
        <p:txBody>
          <a:bodyPr/>
          <a:lstStyle/>
          <a:p>
            <a:r>
              <a:rPr lang="en-US" sz="4400" dirty="0" smtClean="0"/>
              <a:t>Using Device Authentication Info to Drive Access</a:t>
            </a:r>
            <a:endParaRPr lang="en-US" sz="4400" dirty="0"/>
          </a:p>
        </p:txBody>
      </p:sp>
    </p:spTree>
    <p:extLst>
      <p:ext uri="{BB962C8B-B14F-4D97-AF65-F5344CB8AC3E}">
        <p14:creationId xmlns:p14="http://schemas.microsoft.com/office/powerpoint/2010/main" val="1819854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257975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800" dirty="0" smtClean="0"/>
              <a:t>Access resources outside of the corporate network.</a:t>
            </a:r>
          </a:p>
          <a:p>
            <a:r>
              <a:rPr lang="en-US" sz="2400" dirty="0" smtClean="0">
                <a:latin typeface="+mn-lt"/>
              </a:rPr>
              <a:t>Use OAuth2.</a:t>
            </a:r>
          </a:p>
          <a:p>
            <a:pPr lvl="2"/>
            <a:r>
              <a:rPr lang="en-US" sz="2000" dirty="0" smtClean="0"/>
              <a:t>Register client app and resources in Active Directory</a:t>
            </a:r>
          </a:p>
          <a:p>
            <a:pPr lvl="2"/>
            <a:r>
              <a:rPr lang="en-US" sz="2000" dirty="0" smtClean="0"/>
              <a:t>Get and use access tokens</a:t>
            </a:r>
            <a:endParaRPr lang="en-US" sz="2000" dirty="0"/>
          </a:p>
          <a:p>
            <a:r>
              <a:rPr lang="en-US" sz="2800" dirty="0" smtClean="0"/>
              <a:t>Handle authentication and session mechanics.</a:t>
            </a:r>
          </a:p>
          <a:p>
            <a:r>
              <a:rPr lang="en-US" sz="2400" dirty="0">
                <a:latin typeface="+mn-lt"/>
              </a:rPr>
              <a:t>Use </a:t>
            </a:r>
            <a:r>
              <a:rPr lang="en-US" sz="2400" dirty="0" smtClean="0">
                <a:latin typeface="+mn-lt"/>
              </a:rPr>
              <a:t>the Windows Azure Authentication Library.</a:t>
            </a:r>
            <a:endParaRPr lang="en-US" sz="2400" dirty="0">
              <a:latin typeface="+mn-lt"/>
            </a:endParaRPr>
          </a:p>
          <a:p>
            <a:r>
              <a:rPr lang="en-US" sz="2800" dirty="0" smtClean="0"/>
              <a:t>Apply access policies on non-domain joined devices.</a:t>
            </a:r>
          </a:p>
          <a:p>
            <a:pPr lvl="1"/>
            <a:r>
              <a:rPr lang="en-US" sz="2400" dirty="0" smtClean="0"/>
              <a:t>Use Windows 8.1 Workplace-join  and ADFS rules.</a:t>
            </a:r>
            <a:endParaRPr lang="en-US" sz="3200" dirty="0" smtClean="0"/>
          </a:p>
        </p:txBody>
      </p:sp>
      <p:sp>
        <p:nvSpPr>
          <p:cNvPr id="4" name="Content Placeholder 3"/>
          <p:cNvSpPr>
            <a:spLocks noGrp="1"/>
          </p:cNvSpPr>
          <p:nvPr>
            <p:ph type="body" sz="quarter" idx="11"/>
          </p:nvPr>
        </p:nvSpPr>
        <p:spPr/>
        <p:txBody>
          <a:bodyPr/>
          <a:lstStyle/>
          <a:p>
            <a:r>
              <a:rPr lang="en-US" sz="2000" dirty="0" smtClean="0"/>
              <a:t>Tackle those, and you’ve got yourself a nice business app.</a:t>
            </a:r>
          </a:p>
        </p:txBody>
      </p:sp>
      <p:sp>
        <p:nvSpPr>
          <p:cNvPr id="3" name="Title 2"/>
          <p:cNvSpPr>
            <a:spLocks noGrp="1"/>
          </p:cNvSpPr>
          <p:nvPr>
            <p:ph type="title"/>
          </p:nvPr>
        </p:nvSpPr>
        <p:spPr/>
        <p:txBody>
          <a:bodyPr/>
          <a:lstStyle/>
          <a:p>
            <a:r>
              <a:rPr lang="en-US" dirty="0" smtClean="0"/>
              <a:t>Checklist</a:t>
            </a:r>
            <a:endParaRPr lang="en-US" dirty="0"/>
          </a:p>
        </p:txBody>
      </p:sp>
      <p:sp>
        <p:nvSpPr>
          <p:cNvPr id="5" name="Rectangle 4"/>
          <p:cNvSpPr/>
          <p:nvPr/>
        </p:nvSpPr>
        <p:spPr bwMode="auto">
          <a:xfrm>
            <a:off x="3170237" y="1897062"/>
            <a:ext cx="304800" cy="304800"/>
          </a:xfrm>
          <a:prstGeom prst="rect">
            <a:avLst/>
          </a:prstGeom>
          <a:solidFill>
            <a:srgbClr val="00188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3170237" y="3573462"/>
            <a:ext cx="304800" cy="304800"/>
          </a:xfrm>
          <a:prstGeom prst="rect">
            <a:avLst/>
          </a:prstGeom>
          <a:solidFill>
            <a:srgbClr val="00188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3170237" y="4487862"/>
            <a:ext cx="304800" cy="304800"/>
          </a:xfrm>
          <a:prstGeom prst="rect">
            <a:avLst/>
          </a:prstGeom>
          <a:solidFill>
            <a:srgbClr val="00188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rotWithShape="1">
          <a:blip r:embed="rId2"/>
          <a:srcRect l="31247" t="23694" r="31256" b="40763"/>
          <a:stretch/>
        </p:blipFill>
        <p:spPr>
          <a:xfrm>
            <a:off x="3132656" y="1820862"/>
            <a:ext cx="457200" cy="457200"/>
          </a:xfrm>
          <a:prstGeom prst="rect">
            <a:avLst/>
          </a:prstGeom>
        </p:spPr>
      </p:pic>
      <p:pic>
        <p:nvPicPr>
          <p:cNvPr id="9" name="Picture 8"/>
          <p:cNvPicPr>
            <a:picLocks noChangeAspect="1"/>
          </p:cNvPicPr>
          <p:nvPr/>
        </p:nvPicPr>
        <p:blipFill rotWithShape="1">
          <a:blip r:embed="rId2"/>
          <a:srcRect l="31247" t="23694" r="31256" b="40763"/>
          <a:stretch/>
        </p:blipFill>
        <p:spPr>
          <a:xfrm>
            <a:off x="3170237" y="3483909"/>
            <a:ext cx="457200" cy="457200"/>
          </a:xfrm>
          <a:prstGeom prst="rect">
            <a:avLst/>
          </a:prstGeom>
        </p:spPr>
      </p:pic>
    </p:spTree>
    <p:extLst>
      <p:ext uri="{BB962C8B-B14F-4D97-AF65-F5344CB8AC3E}">
        <p14:creationId xmlns:p14="http://schemas.microsoft.com/office/powerpoint/2010/main" val="3439066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 summary</a:t>
            </a:r>
            <a:endParaRPr lang="en-US" dirty="0"/>
          </a:p>
        </p:txBody>
      </p:sp>
    </p:spTree>
    <p:extLst>
      <p:ext uri="{BB962C8B-B14F-4D97-AF65-F5344CB8AC3E}">
        <p14:creationId xmlns:p14="http://schemas.microsoft.com/office/powerpoint/2010/main" val="254652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uilding a Modern Business App</a:t>
            </a:r>
            <a:endParaRPr lang="en-US" dirty="0"/>
          </a:p>
        </p:txBody>
      </p:sp>
      <p:grpSp>
        <p:nvGrpSpPr>
          <p:cNvPr id="27" name="Group 26"/>
          <p:cNvGrpSpPr/>
          <p:nvPr>
            <p:custDataLst>
              <p:custData r:id="rId1"/>
            </p:custDataLst>
          </p:nvPr>
        </p:nvGrpSpPr>
        <p:grpSpPr>
          <a:xfrm>
            <a:off x="7179435" y="4334308"/>
            <a:ext cx="1103379" cy="1373910"/>
            <a:chOff x="3723435" y="3901278"/>
            <a:chExt cx="1163607" cy="1448904"/>
          </a:xfrm>
        </p:grpSpPr>
        <p:sp>
          <p:nvSpPr>
            <p:cNvPr id="28" name="Freeform 27"/>
            <p:cNvSpPr/>
            <p:nvPr/>
          </p:nvSpPr>
          <p:spPr bwMode="auto">
            <a:xfrm>
              <a:off x="3783341" y="3901278"/>
              <a:ext cx="1043784" cy="1043784"/>
            </a:xfrm>
            <a:custGeom>
              <a:avLst/>
              <a:gdLst>
                <a:gd name="connsiteX0" fmla="*/ 1409700 w 2819400"/>
                <a:gd name="connsiteY0" fmla="*/ 952500 h 2819400"/>
                <a:gd name="connsiteX1" fmla="*/ 1866900 w 2819400"/>
                <a:gd name="connsiteY1" fmla="*/ 1409700 h 2819400"/>
                <a:gd name="connsiteX2" fmla="*/ 1409700 w 2819400"/>
                <a:gd name="connsiteY2" fmla="*/ 1866900 h 2819400"/>
                <a:gd name="connsiteX3" fmla="*/ 952500 w 2819400"/>
                <a:gd name="connsiteY3" fmla="*/ 1409700 h 2819400"/>
                <a:gd name="connsiteX4" fmla="*/ 1409700 w 2819400"/>
                <a:gd name="connsiteY4" fmla="*/ 952500 h 2819400"/>
                <a:gd name="connsiteX5" fmla="*/ 1333500 w 2819400"/>
                <a:gd name="connsiteY5" fmla="*/ 419100 h 2819400"/>
                <a:gd name="connsiteX6" fmla="*/ 1333500 w 2819400"/>
                <a:gd name="connsiteY6" fmla="*/ 588645 h 2819400"/>
                <a:gd name="connsiteX7" fmla="*/ 1237641 w 2819400"/>
                <a:gd name="connsiteY7" fmla="*/ 599554 h 2819400"/>
                <a:gd name="connsiteX8" fmla="*/ 1159408 w 2819400"/>
                <a:gd name="connsiteY8" fmla="*/ 625030 h 2819400"/>
                <a:gd name="connsiteX9" fmla="*/ 1092784 w 2819400"/>
                <a:gd name="connsiteY9" fmla="*/ 468074 h 2819400"/>
                <a:gd name="connsiteX10" fmla="*/ 952499 w 2819400"/>
                <a:gd name="connsiteY10" fmla="*/ 527622 h 2819400"/>
                <a:gd name="connsiteX11" fmla="*/ 1017714 w 2819400"/>
                <a:gd name="connsiteY11" fmla="*/ 681258 h 2819400"/>
                <a:gd name="connsiteX12" fmla="*/ 995010 w 2819400"/>
                <a:gd name="connsiteY12" fmla="*/ 692834 h 2819400"/>
                <a:gd name="connsiteX13" fmla="*/ 904432 w 2819400"/>
                <a:gd name="connsiteY13" fmla="*/ 753403 h 2819400"/>
                <a:gd name="connsiteX14" fmla="*/ 870603 w 2819400"/>
                <a:gd name="connsiteY14" fmla="*/ 783170 h 2819400"/>
                <a:gd name="connsiteX15" fmla="*/ 750055 w 2819400"/>
                <a:gd name="connsiteY15" fmla="*/ 666758 h 2819400"/>
                <a:gd name="connsiteX16" fmla="*/ 644189 w 2819400"/>
                <a:gd name="connsiteY16" fmla="*/ 776385 h 2819400"/>
                <a:gd name="connsiteX17" fmla="*/ 764315 w 2819400"/>
                <a:gd name="connsiteY17" fmla="*/ 892389 h 2819400"/>
                <a:gd name="connsiteX18" fmla="*/ 749317 w 2819400"/>
                <a:gd name="connsiteY18" fmla="*/ 909661 h 2819400"/>
                <a:gd name="connsiteX19" fmla="*/ 687550 w 2819400"/>
                <a:gd name="connsiteY19" fmla="*/ 1004175 h 2819400"/>
                <a:gd name="connsiteX20" fmla="*/ 674871 w 2819400"/>
                <a:gd name="connsiteY20" fmla="*/ 1030626 h 2819400"/>
                <a:gd name="connsiteX21" fmla="*/ 519777 w 2819400"/>
                <a:gd name="connsiteY21" fmla="*/ 967963 h 2819400"/>
                <a:gd name="connsiteX22" fmla="*/ 462687 w 2819400"/>
                <a:gd name="connsiteY22" fmla="*/ 1109266 h 2819400"/>
                <a:gd name="connsiteX23" fmla="*/ 616892 w 2819400"/>
                <a:gd name="connsiteY23" fmla="*/ 1171569 h 2819400"/>
                <a:gd name="connsiteX24" fmla="*/ 614115 w 2819400"/>
                <a:gd name="connsiteY24" fmla="*/ 1179584 h 2819400"/>
                <a:gd name="connsiteX25" fmla="*/ 590611 w 2819400"/>
                <a:gd name="connsiteY25" fmla="*/ 1286378 h 2819400"/>
                <a:gd name="connsiteX26" fmla="*/ 586601 w 2819400"/>
                <a:gd name="connsiteY26" fmla="*/ 1333500 h 2819400"/>
                <a:gd name="connsiteX27" fmla="*/ 419100 w 2819400"/>
                <a:gd name="connsiteY27" fmla="*/ 1333500 h 2819400"/>
                <a:gd name="connsiteX28" fmla="*/ 419100 w 2819400"/>
                <a:gd name="connsiteY28" fmla="*/ 1485900 h 2819400"/>
                <a:gd name="connsiteX29" fmla="*/ 585667 w 2819400"/>
                <a:gd name="connsiteY29" fmla="*/ 1485900 h 2819400"/>
                <a:gd name="connsiteX30" fmla="*/ 586271 w 2819400"/>
                <a:gd name="connsiteY30" fmla="*/ 1499335 h 2819400"/>
                <a:gd name="connsiteX31" fmla="*/ 604381 w 2819400"/>
                <a:gd name="connsiteY31" fmla="*/ 1603015 h 2819400"/>
                <a:gd name="connsiteX32" fmla="*/ 623507 w 2819400"/>
                <a:gd name="connsiteY32" fmla="*/ 1660639 h 2819400"/>
                <a:gd name="connsiteX33" fmla="*/ 468074 w 2819400"/>
                <a:gd name="connsiteY33" fmla="*/ 1726616 h 2819400"/>
                <a:gd name="connsiteX34" fmla="*/ 527622 w 2819400"/>
                <a:gd name="connsiteY34" fmla="*/ 1866901 h 2819400"/>
                <a:gd name="connsiteX35" fmla="*/ 683091 w 2819400"/>
                <a:gd name="connsiteY35" fmla="*/ 1800908 h 2819400"/>
                <a:gd name="connsiteX36" fmla="*/ 713905 w 2819400"/>
                <a:gd name="connsiteY36" fmla="*/ 1858905 h 2819400"/>
                <a:gd name="connsiteX37" fmla="*/ 776434 w 2819400"/>
                <a:gd name="connsiteY37" fmla="*/ 1943602 h 2819400"/>
                <a:gd name="connsiteX38" fmla="*/ 782287 w 2819400"/>
                <a:gd name="connsiteY38" fmla="*/ 1949711 h 2819400"/>
                <a:gd name="connsiteX39" fmla="*/ 666758 w 2819400"/>
                <a:gd name="connsiteY39" fmla="*/ 2069345 h 2819400"/>
                <a:gd name="connsiteX40" fmla="*/ 776385 w 2819400"/>
                <a:gd name="connsiteY40" fmla="*/ 2175211 h 2819400"/>
                <a:gd name="connsiteX41" fmla="*/ 892759 w 2819400"/>
                <a:gd name="connsiteY41" fmla="*/ 2054702 h 2819400"/>
                <a:gd name="connsiteX42" fmla="*/ 933621 w 2819400"/>
                <a:gd name="connsiteY42" fmla="*/ 2087532 h 2819400"/>
                <a:gd name="connsiteX43" fmla="*/ 1027223 w 2819400"/>
                <a:gd name="connsiteY43" fmla="*/ 2144281 h 2819400"/>
                <a:gd name="connsiteX44" fmla="*/ 1030176 w 2819400"/>
                <a:gd name="connsiteY44" fmla="*/ 2145640 h 2819400"/>
                <a:gd name="connsiteX45" fmla="*/ 967963 w 2819400"/>
                <a:gd name="connsiteY45" fmla="*/ 2299623 h 2819400"/>
                <a:gd name="connsiteX46" fmla="*/ 1109266 w 2819400"/>
                <a:gd name="connsiteY46" fmla="*/ 2356713 h 2819400"/>
                <a:gd name="connsiteX47" fmla="*/ 1171569 w 2819400"/>
                <a:gd name="connsiteY47" fmla="*/ 2202508 h 2819400"/>
                <a:gd name="connsiteX48" fmla="*/ 1179584 w 2819400"/>
                <a:gd name="connsiteY48" fmla="*/ 2205285 h 2819400"/>
                <a:gd name="connsiteX49" fmla="*/ 1260524 w 2819400"/>
                <a:gd name="connsiteY49" fmla="*/ 2224452 h 2819400"/>
                <a:gd name="connsiteX50" fmla="*/ 1333500 w 2819400"/>
                <a:gd name="connsiteY50" fmla="*/ 2230522 h 2819400"/>
                <a:gd name="connsiteX51" fmla="*/ 1333500 w 2819400"/>
                <a:gd name="connsiteY51" fmla="*/ 2400300 h 2819400"/>
                <a:gd name="connsiteX52" fmla="*/ 1485900 w 2819400"/>
                <a:gd name="connsiteY52" fmla="*/ 2400300 h 2819400"/>
                <a:gd name="connsiteX53" fmla="*/ 1485900 w 2819400"/>
                <a:gd name="connsiteY53" fmla="*/ 2230755 h 2819400"/>
                <a:gd name="connsiteX54" fmla="*/ 1581759 w 2819400"/>
                <a:gd name="connsiteY54" fmla="*/ 2219846 h 2819400"/>
                <a:gd name="connsiteX55" fmla="*/ 1659992 w 2819400"/>
                <a:gd name="connsiteY55" fmla="*/ 2194370 h 2819400"/>
                <a:gd name="connsiteX56" fmla="*/ 1726616 w 2819400"/>
                <a:gd name="connsiteY56" fmla="*/ 2351326 h 2819400"/>
                <a:gd name="connsiteX57" fmla="*/ 1866901 w 2819400"/>
                <a:gd name="connsiteY57" fmla="*/ 2291779 h 2819400"/>
                <a:gd name="connsiteX58" fmla="*/ 1801686 w 2819400"/>
                <a:gd name="connsiteY58" fmla="*/ 2138142 h 2819400"/>
                <a:gd name="connsiteX59" fmla="*/ 1824391 w 2819400"/>
                <a:gd name="connsiteY59" fmla="*/ 2126566 h 2819400"/>
                <a:gd name="connsiteX60" fmla="*/ 1914968 w 2819400"/>
                <a:gd name="connsiteY60" fmla="*/ 2065997 h 2819400"/>
                <a:gd name="connsiteX61" fmla="*/ 1948797 w 2819400"/>
                <a:gd name="connsiteY61" fmla="*/ 2036230 h 2819400"/>
                <a:gd name="connsiteX62" fmla="*/ 2069345 w 2819400"/>
                <a:gd name="connsiteY62" fmla="*/ 2152642 h 2819400"/>
                <a:gd name="connsiteX63" fmla="*/ 2175211 w 2819400"/>
                <a:gd name="connsiteY63" fmla="*/ 2043015 h 2819400"/>
                <a:gd name="connsiteX64" fmla="*/ 2055085 w 2819400"/>
                <a:gd name="connsiteY64" fmla="*/ 1927011 h 2819400"/>
                <a:gd name="connsiteX65" fmla="*/ 2070083 w 2819400"/>
                <a:gd name="connsiteY65" fmla="*/ 1909739 h 2819400"/>
                <a:gd name="connsiteX66" fmla="*/ 2131851 w 2819400"/>
                <a:gd name="connsiteY66" fmla="*/ 1815225 h 2819400"/>
                <a:gd name="connsiteX67" fmla="*/ 2144529 w 2819400"/>
                <a:gd name="connsiteY67" fmla="*/ 1788775 h 2819400"/>
                <a:gd name="connsiteX68" fmla="*/ 2299623 w 2819400"/>
                <a:gd name="connsiteY68" fmla="*/ 1851437 h 2819400"/>
                <a:gd name="connsiteX69" fmla="*/ 2356713 w 2819400"/>
                <a:gd name="connsiteY69" fmla="*/ 1710134 h 2819400"/>
                <a:gd name="connsiteX70" fmla="*/ 2202508 w 2819400"/>
                <a:gd name="connsiteY70" fmla="*/ 1647831 h 2819400"/>
                <a:gd name="connsiteX71" fmla="*/ 2205285 w 2819400"/>
                <a:gd name="connsiteY71" fmla="*/ 1639816 h 2819400"/>
                <a:gd name="connsiteX72" fmla="*/ 2228789 w 2819400"/>
                <a:gd name="connsiteY72" fmla="*/ 1533022 h 2819400"/>
                <a:gd name="connsiteX73" fmla="*/ 2232799 w 2819400"/>
                <a:gd name="connsiteY73" fmla="*/ 1485900 h 2819400"/>
                <a:gd name="connsiteX74" fmla="*/ 2400300 w 2819400"/>
                <a:gd name="connsiteY74" fmla="*/ 1485900 h 2819400"/>
                <a:gd name="connsiteX75" fmla="*/ 2400300 w 2819400"/>
                <a:gd name="connsiteY75" fmla="*/ 1333500 h 2819400"/>
                <a:gd name="connsiteX76" fmla="*/ 2233733 w 2819400"/>
                <a:gd name="connsiteY76" fmla="*/ 1333500 h 2819400"/>
                <a:gd name="connsiteX77" fmla="*/ 2233129 w 2819400"/>
                <a:gd name="connsiteY77" fmla="*/ 1320065 h 2819400"/>
                <a:gd name="connsiteX78" fmla="*/ 2215019 w 2819400"/>
                <a:gd name="connsiteY78" fmla="*/ 1216385 h 2819400"/>
                <a:gd name="connsiteX79" fmla="*/ 2195893 w 2819400"/>
                <a:gd name="connsiteY79" fmla="*/ 1158761 h 2819400"/>
                <a:gd name="connsiteX80" fmla="*/ 2351326 w 2819400"/>
                <a:gd name="connsiteY80" fmla="*/ 1092784 h 2819400"/>
                <a:gd name="connsiteX81" fmla="*/ 2291778 w 2819400"/>
                <a:gd name="connsiteY81" fmla="*/ 952499 h 2819400"/>
                <a:gd name="connsiteX82" fmla="*/ 2136309 w 2819400"/>
                <a:gd name="connsiteY82" fmla="*/ 1018492 h 2819400"/>
                <a:gd name="connsiteX83" fmla="*/ 2105495 w 2819400"/>
                <a:gd name="connsiteY83" fmla="*/ 960495 h 2819400"/>
                <a:gd name="connsiteX84" fmla="*/ 2042966 w 2819400"/>
                <a:gd name="connsiteY84" fmla="*/ 875798 h 2819400"/>
                <a:gd name="connsiteX85" fmla="*/ 2037113 w 2819400"/>
                <a:gd name="connsiteY85" fmla="*/ 869689 h 2819400"/>
                <a:gd name="connsiteX86" fmla="*/ 2152642 w 2819400"/>
                <a:gd name="connsiteY86" fmla="*/ 750055 h 2819400"/>
                <a:gd name="connsiteX87" fmla="*/ 2043015 w 2819400"/>
                <a:gd name="connsiteY87" fmla="*/ 644189 h 2819400"/>
                <a:gd name="connsiteX88" fmla="*/ 1926641 w 2819400"/>
                <a:gd name="connsiteY88" fmla="*/ 764698 h 2819400"/>
                <a:gd name="connsiteX89" fmla="*/ 1885779 w 2819400"/>
                <a:gd name="connsiteY89" fmla="*/ 731868 h 2819400"/>
                <a:gd name="connsiteX90" fmla="*/ 1792177 w 2819400"/>
                <a:gd name="connsiteY90" fmla="*/ 675118 h 2819400"/>
                <a:gd name="connsiteX91" fmla="*/ 1789224 w 2819400"/>
                <a:gd name="connsiteY91" fmla="*/ 673760 h 2819400"/>
                <a:gd name="connsiteX92" fmla="*/ 1851437 w 2819400"/>
                <a:gd name="connsiteY92" fmla="*/ 519777 h 2819400"/>
                <a:gd name="connsiteX93" fmla="*/ 1710134 w 2819400"/>
                <a:gd name="connsiteY93" fmla="*/ 462687 h 2819400"/>
                <a:gd name="connsiteX94" fmla="*/ 1647831 w 2819400"/>
                <a:gd name="connsiteY94" fmla="*/ 616892 h 2819400"/>
                <a:gd name="connsiteX95" fmla="*/ 1639816 w 2819400"/>
                <a:gd name="connsiteY95" fmla="*/ 614115 h 2819400"/>
                <a:gd name="connsiteX96" fmla="*/ 1558876 w 2819400"/>
                <a:gd name="connsiteY96" fmla="*/ 594948 h 2819400"/>
                <a:gd name="connsiteX97" fmla="*/ 1485900 w 2819400"/>
                <a:gd name="connsiteY97" fmla="*/ 588878 h 2819400"/>
                <a:gd name="connsiteX98" fmla="*/ 1485900 w 2819400"/>
                <a:gd name="connsiteY98" fmla="*/ 419100 h 2819400"/>
                <a:gd name="connsiteX99" fmla="*/ 0 w 2819400"/>
                <a:gd name="connsiteY99" fmla="*/ 0 h 2819400"/>
                <a:gd name="connsiteX100" fmla="*/ 2819400 w 2819400"/>
                <a:gd name="connsiteY100" fmla="*/ 0 h 2819400"/>
                <a:gd name="connsiteX101" fmla="*/ 2819400 w 2819400"/>
                <a:gd name="connsiteY101" fmla="*/ 2819400 h 2819400"/>
                <a:gd name="connsiteX102" fmla="*/ 0 w 2819400"/>
                <a:gd name="connsiteY102" fmla="*/ 2819400 h 28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819400" h="2819400">
                  <a:moveTo>
                    <a:pt x="1409700" y="952500"/>
                  </a:moveTo>
                  <a:cubicBezTo>
                    <a:pt x="1662205" y="952500"/>
                    <a:pt x="1866900" y="1157195"/>
                    <a:pt x="1866900" y="1409700"/>
                  </a:cubicBezTo>
                  <a:cubicBezTo>
                    <a:pt x="1866900" y="1662205"/>
                    <a:pt x="1662205" y="1866900"/>
                    <a:pt x="1409700" y="1866900"/>
                  </a:cubicBezTo>
                  <a:cubicBezTo>
                    <a:pt x="1157195" y="1866900"/>
                    <a:pt x="952500" y="1662205"/>
                    <a:pt x="952500" y="1409700"/>
                  </a:cubicBezTo>
                  <a:cubicBezTo>
                    <a:pt x="952500" y="1157195"/>
                    <a:pt x="1157195" y="952500"/>
                    <a:pt x="1409700" y="952500"/>
                  </a:cubicBezTo>
                  <a:close/>
                  <a:moveTo>
                    <a:pt x="1333500" y="419100"/>
                  </a:moveTo>
                  <a:lnTo>
                    <a:pt x="1333500" y="588645"/>
                  </a:lnTo>
                  <a:lnTo>
                    <a:pt x="1237641" y="599554"/>
                  </a:lnTo>
                  <a:lnTo>
                    <a:pt x="1159408" y="625030"/>
                  </a:lnTo>
                  <a:lnTo>
                    <a:pt x="1092784" y="468074"/>
                  </a:lnTo>
                  <a:lnTo>
                    <a:pt x="952499" y="527622"/>
                  </a:lnTo>
                  <a:lnTo>
                    <a:pt x="1017714" y="681258"/>
                  </a:lnTo>
                  <a:lnTo>
                    <a:pt x="995010" y="692834"/>
                  </a:lnTo>
                  <a:cubicBezTo>
                    <a:pt x="963601" y="710974"/>
                    <a:pt x="933332" y="731197"/>
                    <a:pt x="904432" y="753403"/>
                  </a:cubicBezTo>
                  <a:lnTo>
                    <a:pt x="870603" y="783170"/>
                  </a:lnTo>
                  <a:lnTo>
                    <a:pt x="750055" y="666758"/>
                  </a:lnTo>
                  <a:lnTo>
                    <a:pt x="644189" y="776385"/>
                  </a:lnTo>
                  <a:lnTo>
                    <a:pt x="764315" y="892389"/>
                  </a:lnTo>
                  <a:lnTo>
                    <a:pt x="749317" y="909661"/>
                  </a:lnTo>
                  <a:cubicBezTo>
                    <a:pt x="726820" y="939410"/>
                    <a:pt x="706153" y="970948"/>
                    <a:pt x="687550" y="1004175"/>
                  </a:cubicBezTo>
                  <a:lnTo>
                    <a:pt x="674871" y="1030626"/>
                  </a:lnTo>
                  <a:lnTo>
                    <a:pt x="519777" y="967963"/>
                  </a:lnTo>
                  <a:lnTo>
                    <a:pt x="462687" y="1109266"/>
                  </a:lnTo>
                  <a:lnTo>
                    <a:pt x="616892" y="1171569"/>
                  </a:lnTo>
                  <a:lnTo>
                    <a:pt x="614115" y="1179584"/>
                  </a:lnTo>
                  <a:cubicBezTo>
                    <a:pt x="603822" y="1215010"/>
                    <a:pt x="596017" y="1250677"/>
                    <a:pt x="590611" y="1286378"/>
                  </a:cubicBezTo>
                  <a:lnTo>
                    <a:pt x="586601" y="1333500"/>
                  </a:lnTo>
                  <a:lnTo>
                    <a:pt x="419100" y="1333500"/>
                  </a:lnTo>
                  <a:lnTo>
                    <a:pt x="419100" y="1485900"/>
                  </a:lnTo>
                  <a:lnTo>
                    <a:pt x="585667" y="1485900"/>
                  </a:lnTo>
                  <a:lnTo>
                    <a:pt x="586271" y="1499335"/>
                  </a:lnTo>
                  <a:cubicBezTo>
                    <a:pt x="590113" y="1534344"/>
                    <a:pt x="596179" y="1568973"/>
                    <a:pt x="604381" y="1603015"/>
                  </a:cubicBezTo>
                  <a:lnTo>
                    <a:pt x="623507" y="1660639"/>
                  </a:lnTo>
                  <a:lnTo>
                    <a:pt x="468074" y="1726616"/>
                  </a:lnTo>
                  <a:lnTo>
                    <a:pt x="527622" y="1866901"/>
                  </a:lnTo>
                  <a:lnTo>
                    <a:pt x="683091" y="1800908"/>
                  </a:lnTo>
                  <a:lnTo>
                    <a:pt x="713905" y="1858905"/>
                  </a:lnTo>
                  <a:cubicBezTo>
                    <a:pt x="732875" y="1888345"/>
                    <a:pt x="753748" y="1916647"/>
                    <a:pt x="776434" y="1943602"/>
                  </a:cubicBezTo>
                  <a:lnTo>
                    <a:pt x="782287" y="1949711"/>
                  </a:lnTo>
                  <a:lnTo>
                    <a:pt x="666758" y="2069345"/>
                  </a:lnTo>
                  <a:lnTo>
                    <a:pt x="776385" y="2175211"/>
                  </a:lnTo>
                  <a:lnTo>
                    <a:pt x="892759" y="2054702"/>
                  </a:lnTo>
                  <a:lnTo>
                    <a:pt x="933621" y="2087532"/>
                  </a:lnTo>
                  <a:cubicBezTo>
                    <a:pt x="963213" y="2108277"/>
                    <a:pt x="994443" y="2127263"/>
                    <a:pt x="1027223" y="2144281"/>
                  </a:cubicBezTo>
                  <a:lnTo>
                    <a:pt x="1030176" y="2145640"/>
                  </a:lnTo>
                  <a:lnTo>
                    <a:pt x="967963" y="2299623"/>
                  </a:lnTo>
                  <a:lnTo>
                    <a:pt x="1109266" y="2356713"/>
                  </a:lnTo>
                  <a:lnTo>
                    <a:pt x="1171569" y="2202508"/>
                  </a:lnTo>
                  <a:lnTo>
                    <a:pt x="1179584" y="2205285"/>
                  </a:lnTo>
                  <a:cubicBezTo>
                    <a:pt x="1206456" y="2213093"/>
                    <a:pt x="1233465" y="2219469"/>
                    <a:pt x="1260524" y="2224452"/>
                  </a:cubicBezTo>
                  <a:lnTo>
                    <a:pt x="1333500" y="2230522"/>
                  </a:lnTo>
                  <a:lnTo>
                    <a:pt x="1333500" y="2400300"/>
                  </a:lnTo>
                  <a:lnTo>
                    <a:pt x="1485900" y="2400300"/>
                  </a:lnTo>
                  <a:lnTo>
                    <a:pt x="1485900" y="2230755"/>
                  </a:lnTo>
                  <a:lnTo>
                    <a:pt x="1581759" y="2219846"/>
                  </a:lnTo>
                  <a:lnTo>
                    <a:pt x="1659992" y="2194370"/>
                  </a:lnTo>
                  <a:lnTo>
                    <a:pt x="1726616" y="2351326"/>
                  </a:lnTo>
                  <a:lnTo>
                    <a:pt x="1866901" y="2291779"/>
                  </a:lnTo>
                  <a:lnTo>
                    <a:pt x="1801686" y="2138142"/>
                  </a:lnTo>
                  <a:lnTo>
                    <a:pt x="1824391" y="2126566"/>
                  </a:lnTo>
                  <a:cubicBezTo>
                    <a:pt x="1855799" y="2108425"/>
                    <a:pt x="1886069" y="2088203"/>
                    <a:pt x="1914968" y="2065997"/>
                  </a:cubicBezTo>
                  <a:lnTo>
                    <a:pt x="1948797" y="2036230"/>
                  </a:lnTo>
                  <a:lnTo>
                    <a:pt x="2069345" y="2152642"/>
                  </a:lnTo>
                  <a:lnTo>
                    <a:pt x="2175211" y="2043015"/>
                  </a:lnTo>
                  <a:lnTo>
                    <a:pt x="2055085" y="1927011"/>
                  </a:lnTo>
                  <a:lnTo>
                    <a:pt x="2070083" y="1909739"/>
                  </a:lnTo>
                  <a:cubicBezTo>
                    <a:pt x="2092580" y="1879990"/>
                    <a:pt x="2113247" y="1848452"/>
                    <a:pt x="2131851" y="1815225"/>
                  </a:cubicBezTo>
                  <a:lnTo>
                    <a:pt x="2144529" y="1788775"/>
                  </a:lnTo>
                  <a:lnTo>
                    <a:pt x="2299623" y="1851437"/>
                  </a:lnTo>
                  <a:lnTo>
                    <a:pt x="2356713" y="1710134"/>
                  </a:lnTo>
                  <a:lnTo>
                    <a:pt x="2202508" y="1647831"/>
                  </a:lnTo>
                  <a:lnTo>
                    <a:pt x="2205285" y="1639816"/>
                  </a:lnTo>
                  <a:cubicBezTo>
                    <a:pt x="2215578" y="1604389"/>
                    <a:pt x="2223384" y="1568723"/>
                    <a:pt x="2228789" y="1533022"/>
                  </a:cubicBezTo>
                  <a:lnTo>
                    <a:pt x="2232799" y="1485900"/>
                  </a:lnTo>
                  <a:lnTo>
                    <a:pt x="2400300" y="1485900"/>
                  </a:lnTo>
                  <a:lnTo>
                    <a:pt x="2400300" y="1333500"/>
                  </a:lnTo>
                  <a:lnTo>
                    <a:pt x="2233733" y="1333500"/>
                  </a:lnTo>
                  <a:lnTo>
                    <a:pt x="2233129" y="1320065"/>
                  </a:lnTo>
                  <a:cubicBezTo>
                    <a:pt x="2229287" y="1285056"/>
                    <a:pt x="2223221" y="1250427"/>
                    <a:pt x="2215019" y="1216385"/>
                  </a:cubicBezTo>
                  <a:lnTo>
                    <a:pt x="2195893" y="1158761"/>
                  </a:lnTo>
                  <a:lnTo>
                    <a:pt x="2351326" y="1092784"/>
                  </a:lnTo>
                  <a:lnTo>
                    <a:pt x="2291778" y="952499"/>
                  </a:lnTo>
                  <a:lnTo>
                    <a:pt x="2136309" y="1018492"/>
                  </a:lnTo>
                  <a:lnTo>
                    <a:pt x="2105495" y="960495"/>
                  </a:lnTo>
                  <a:cubicBezTo>
                    <a:pt x="2086525" y="931054"/>
                    <a:pt x="2065652" y="902753"/>
                    <a:pt x="2042966" y="875798"/>
                  </a:cubicBezTo>
                  <a:lnTo>
                    <a:pt x="2037113" y="869689"/>
                  </a:lnTo>
                  <a:lnTo>
                    <a:pt x="2152642" y="750055"/>
                  </a:lnTo>
                  <a:lnTo>
                    <a:pt x="2043015" y="644189"/>
                  </a:lnTo>
                  <a:lnTo>
                    <a:pt x="1926641" y="764698"/>
                  </a:lnTo>
                  <a:lnTo>
                    <a:pt x="1885779" y="731868"/>
                  </a:lnTo>
                  <a:cubicBezTo>
                    <a:pt x="1856188" y="711122"/>
                    <a:pt x="1824957" y="692137"/>
                    <a:pt x="1792177" y="675118"/>
                  </a:cubicBezTo>
                  <a:lnTo>
                    <a:pt x="1789224" y="673760"/>
                  </a:lnTo>
                  <a:lnTo>
                    <a:pt x="1851437" y="519777"/>
                  </a:lnTo>
                  <a:lnTo>
                    <a:pt x="1710134" y="462687"/>
                  </a:lnTo>
                  <a:lnTo>
                    <a:pt x="1647831" y="616892"/>
                  </a:lnTo>
                  <a:lnTo>
                    <a:pt x="1639816" y="614115"/>
                  </a:lnTo>
                  <a:cubicBezTo>
                    <a:pt x="1612945" y="606307"/>
                    <a:pt x="1585935" y="599931"/>
                    <a:pt x="1558876" y="594948"/>
                  </a:cubicBezTo>
                  <a:lnTo>
                    <a:pt x="1485900" y="588878"/>
                  </a:lnTo>
                  <a:lnTo>
                    <a:pt x="1485900" y="419100"/>
                  </a:lnTo>
                  <a:close/>
                  <a:moveTo>
                    <a:pt x="0" y="0"/>
                  </a:moveTo>
                  <a:lnTo>
                    <a:pt x="2819400" y="0"/>
                  </a:lnTo>
                  <a:lnTo>
                    <a:pt x="2819400" y="2819400"/>
                  </a:lnTo>
                  <a:lnTo>
                    <a:pt x="0" y="28194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ctr" anchorCtr="0"/>
            <a:lstStyle/>
            <a:p>
              <a:pPr algn="ctr" defTabSz="685598"/>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29" name="TextBox 28"/>
            <p:cNvSpPr txBox="1"/>
            <p:nvPr/>
          </p:nvSpPr>
          <p:spPr>
            <a:xfrm>
              <a:off x="3723435" y="4960690"/>
              <a:ext cx="1163607" cy="389492"/>
            </a:xfrm>
            <a:prstGeom prst="rect">
              <a:avLst/>
            </a:prstGeom>
            <a:noFill/>
          </p:spPr>
          <p:txBody>
            <a:bodyPr wrap="none" rtlCol="0">
              <a:spAutoFit/>
            </a:bodyPr>
            <a:lstStyle/>
            <a:p>
              <a:pPr algn="ctr"/>
              <a:r>
                <a:rPr lang="en-US" dirty="0" smtClean="0">
                  <a:latin typeface="+mn-lt"/>
                </a:rPr>
                <a:t>Resource</a:t>
              </a:r>
              <a:endParaRPr lang="en-US" dirty="0">
                <a:latin typeface="+mn-lt"/>
              </a:endParaRPr>
            </a:p>
          </p:txBody>
        </p:sp>
      </p:grpSp>
      <p:grpSp>
        <p:nvGrpSpPr>
          <p:cNvPr id="30" name="Group 29"/>
          <p:cNvGrpSpPr/>
          <p:nvPr>
            <p:custDataLst>
              <p:custData r:id="rId2"/>
            </p:custDataLst>
          </p:nvPr>
        </p:nvGrpSpPr>
        <p:grpSpPr>
          <a:xfrm>
            <a:off x="4579927" y="4479314"/>
            <a:ext cx="1257321" cy="1083897"/>
            <a:chOff x="5350643" y="4945062"/>
            <a:chExt cx="1944624" cy="1676400"/>
          </a:xfrm>
        </p:grpSpPr>
        <p:sp>
          <p:nvSpPr>
            <p:cNvPr id="31" name="Isosceles Triangle 30"/>
            <p:cNvSpPr/>
            <p:nvPr/>
          </p:nvSpPr>
          <p:spPr bwMode="auto">
            <a:xfrm>
              <a:off x="5350643" y="4945062"/>
              <a:ext cx="1944624" cy="1676400"/>
            </a:xfrm>
            <a:prstGeom prst="triangle">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anchor="t" anchorCtr="0"/>
            <a:lstStyle/>
            <a:p>
              <a:pPr algn="ctr" defTabSz="685598"/>
              <a:endParaRPr lang="en-US" sz="1176" spc="-75" dirty="0">
                <a:gradFill>
                  <a:gsLst>
                    <a:gs pos="0">
                      <a:schemeClr val="bg1"/>
                    </a:gs>
                    <a:gs pos="100000">
                      <a:schemeClr val="bg1"/>
                    </a:gs>
                  </a:gsLst>
                  <a:lin ang="5400000" scaled="0"/>
                </a:gradFill>
                <a:ea typeface="Segoe UI" pitchFamily="34" charset="0"/>
                <a:cs typeface="Segoe UI" pitchFamily="34" charset="0"/>
              </a:endParaRPr>
            </a:p>
          </p:txBody>
        </p:sp>
        <p:sp>
          <p:nvSpPr>
            <p:cNvPr id="32" name="Freeform 31"/>
            <p:cNvSpPr/>
            <p:nvPr/>
          </p:nvSpPr>
          <p:spPr bwMode="auto">
            <a:xfrm>
              <a:off x="5818065" y="5611496"/>
              <a:ext cx="504890" cy="912700"/>
            </a:xfrm>
            <a:custGeom>
              <a:avLst/>
              <a:gdLst>
                <a:gd name="connsiteX0" fmla="*/ 993982 w 1938076"/>
                <a:gd name="connsiteY0" fmla="*/ 706921 h 3503500"/>
                <a:gd name="connsiteX1" fmla="*/ 1086674 w 1938076"/>
                <a:gd name="connsiteY1" fmla="*/ 727483 h 3503500"/>
                <a:gd name="connsiteX2" fmla="*/ 1094101 w 1938076"/>
                <a:gd name="connsiteY2" fmla="*/ 732985 h 3503500"/>
                <a:gd name="connsiteX3" fmla="*/ 1160279 w 1938076"/>
                <a:gd name="connsiteY3" fmla="*/ 756535 h 3503500"/>
                <a:gd name="connsiteX4" fmla="*/ 1840549 w 1938076"/>
                <a:gd name="connsiteY4" fmla="*/ 1149289 h 3503500"/>
                <a:gd name="connsiteX5" fmla="*/ 1917119 w 1938076"/>
                <a:gd name="connsiteY5" fmla="*/ 1389312 h 3503500"/>
                <a:gd name="connsiteX6" fmla="*/ 1670967 w 1938076"/>
                <a:gd name="connsiteY6" fmla="*/ 1443012 h 3503500"/>
                <a:gd name="connsiteX7" fmla="*/ 1232107 w 1938076"/>
                <a:gd name="connsiteY7" fmla="*/ 1189637 h 3503500"/>
                <a:gd name="connsiteX8" fmla="*/ 1232107 w 1938076"/>
                <a:gd name="connsiteY8" fmla="*/ 2071559 h 3503500"/>
                <a:gd name="connsiteX9" fmla="*/ 1227350 w 1938076"/>
                <a:gd name="connsiteY9" fmla="*/ 2123404 h 3503500"/>
                <a:gd name="connsiteX10" fmla="*/ 1232751 w 1938076"/>
                <a:gd name="connsiteY10" fmla="*/ 2127041 h 3503500"/>
                <a:gd name="connsiteX11" fmla="*/ 1296572 w 1938076"/>
                <a:gd name="connsiteY11" fmla="*/ 2207782 h 3503500"/>
                <a:gd name="connsiteX12" fmla="*/ 1848074 w 1938076"/>
                <a:gd name="connsiteY12" fmla="*/ 3163012 h 3503500"/>
                <a:gd name="connsiteX13" fmla="*/ 1814681 w 1938076"/>
                <a:gd name="connsiteY13" fmla="*/ 3484401 h 3503500"/>
                <a:gd name="connsiteX14" fmla="*/ 1519652 w 1938076"/>
                <a:gd name="connsiteY14" fmla="*/ 3352626 h 3503500"/>
                <a:gd name="connsiteX15" fmla="*/ 982472 w 1938076"/>
                <a:gd name="connsiteY15" fmla="*/ 2422203 h 3503500"/>
                <a:gd name="connsiteX16" fmla="*/ 445292 w 1938076"/>
                <a:gd name="connsiteY16" fmla="*/ 3352626 h 3503500"/>
                <a:gd name="connsiteX17" fmla="*/ 150263 w 1938076"/>
                <a:gd name="connsiteY17" fmla="*/ 3484402 h 3503500"/>
                <a:gd name="connsiteX18" fmla="*/ 116869 w 1938076"/>
                <a:gd name="connsiteY18" fmla="*/ 3163011 h 3503500"/>
                <a:gd name="connsiteX19" fmla="*/ 668372 w 1938076"/>
                <a:gd name="connsiteY19" fmla="*/ 2207783 h 3503500"/>
                <a:gd name="connsiteX20" fmla="*/ 714653 w 1938076"/>
                <a:gd name="connsiteY20" fmla="*/ 2144671 h 3503500"/>
                <a:gd name="connsiteX21" fmla="*/ 759050 w 1938076"/>
                <a:gd name="connsiteY21" fmla="*/ 2106359 h 3503500"/>
                <a:gd name="connsiteX22" fmla="*/ 755857 w 1938076"/>
                <a:gd name="connsiteY22" fmla="*/ 2071559 h 3503500"/>
                <a:gd name="connsiteX23" fmla="*/ 755857 w 1938076"/>
                <a:gd name="connsiteY23" fmla="*/ 1160834 h 3503500"/>
                <a:gd name="connsiteX24" fmla="*/ 267109 w 1938076"/>
                <a:gd name="connsiteY24" fmla="*/ 1443012 h 3503500"/>
                <a:gd name="connsiteX25" fmla="*/ 20957 w 1938076"/>
                <a:gd name="connsiteY25" fmla="*/ 1389312 h 3503500"/>
                <a:gd name="connsiteX26" fmla="*/ 97527 w 1938076"/>
                <a:gd name="connsiteY26" fmla="*/ 1149289 h 3503500"/>
                <a:gd name="connsiteX27" fmla="*/ 777797 w 1938076"/>
                <a:gd name="connsiteY27" fmla="*/ 756535 h 3503500"/>
                <a:gd name="connsiteX28" fmla="*/ 847265 w 1938076"/>
                <a:gd name="connsiteY28" fmla="*/ 731815 h 3503500"/>
                <a:gd name="connsiteX29" fmla="*/ 893762 w 1938076"/>
                <a:gd name="connsiteY29" fmla="*/ 733060 h 3503500"/>
                <a:gd name="connsiteX30" fmla="*/ 901290 w 1938076"/>
                <a:gd name="connsiteY30" fmla="*/ 727483 h 3503500"/>
                <a:gd name="connsiteX31" fmla="*/ 993982 w 1938076"/>
                <a:gd name="connsiteY31" fmla="*/ 706921 h 3503500"/>
                <a:gd name="connsiteX32" fmla="*/ 993981 w 1938076"/>
                <a:gd name="connsiteY32" fmla="*/ 0 h 3503500"/>
                <a:gd name="connsiteX33" fmla="*/ 1336881 w 1938076"/>
                <a:gd name="connsiteY33" fmla="*/ 342900 h 3503500"/>
                <a:gd name="connsiteX34" fmla="*/ 993981 w 1938076"/>
                <a:gd name="connsiteY34" fmla="*/ 685800 h 3503500"/>
                <a:gd name="connsiteX35" fmla="*/ 651081 w 1938076"/>
                <a:gd name="connsiteY35" fmla="*/ 342900 h 3503500"/>
                <a:gd name="connsiteX36" fmla="*/ 993981 w 1938076"/>
                <a:gd name="connsiteY36" fmla="*/ 0 h 35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8076" h="3503500">
                  <a:moveTo>
                    <a:pt x="993982" y="706921"/>
                  </a:moveTo>
                  <a:cubicBezTo>
                    <a:pt x="1026862" y="706921"/>
                    <a:pt x="1058185" y="714243"/>
                    <a:pt x="1086674" y="727483"/>
                  </a:cubicBezTo>
                  <a:lnTo>
                    <a:pt x="1094101" y="732985"/>
                  </a:lnTo>
                  <a:lnTo>
                    <a:pt x="1160279" y="756535"/>
                  </a:lnTo>
                  <a:lnTo>
                    <a:pt x="1840549" y="1149289"/>
                  </a:lnTo>
                  <a:cubicBezTo>
                    <a:pt x="1929657" y="1200736"/>
                    <a:pt x="1963949" y="1308199"/>
                    <a:pt x="1917119" y="1389312"/>
                  </a:cubicBezTo>
                  <a:cubicBezTo>
                    <a:pt x="1870287" y="1470426"/>
                    <a:pt x="1760075" y="1494459"/>
                    <a:pt x="1670967" y="1443012"/>
                  </a:cubicBezTo>
                  <a:lnTo>
                    <a:pt x="1232107" y="1189637"/>
                  </a:lnTo>
                  <a:lnTo>
                    <a:pt x="1232107" y="2071559"/>
                  </a:lnTo>
                  <a:lnTo>
                    <a:pt x="1227350" y="2123404"/>
                  </a:lnTo>
                  <a:lnTo>
                    <a:pt x="1232751" y="2127041"/>
                  </a:lnTo>
                  <a:cubicBezTo>
                    <a:pt x="1256711" y="2149351"/>
                    <a:pt x="1278511" y="2176501"/>
                    <a:pt x="1296572" y="2207782"/>
                  </a:cubicBezTo>
                  <a:lnTo>
                    <a:pt x="1848074" y="3163012"/>
                  </a:lnTo>
                  <a:cubicBezTo>
                    <a:pt x="1920315" y="3288137"/>
                    <a:pt x="1905376" y="3432038"/>
                    <a:pt x="1814681" y="3484401"/>
                  </a:cubicBezTo>
                  <a:cubicBezTo>
                    <a:pt x="1723984" y="3536765"/>
                    <a:pt x="1591893" y="3477752"/>
                    <a:pt x="1519652" y="3352626"/>
                  </a:cubicBezTo>
                  <a:lnTo>
                    <a:pt x="982472" y="2422203"/>
                  </a:lnTo>
                  <a:lnTo>
                    <a:pt x="445292" y="3352626"/>
                  </a:lnTo>
                  <a:cubicBezTo>
                    <a:pt x="373050" y="3477752"/>
                    <a:pt x="240960" y="3536765"/>
                    <a:pt x="150263" y="3484402"/>
                  </a:cubicBezTo>
                  <a:cubicBezTo>
                    <a:pt x="59567" y="3432038"/>
                    <a:pt x="44629" y="3288137"/>
                    <a:pt x="116869" y="3163011"/>
                  </a:cubicBezTo>
                  <a:lnTo>
                    <a:pt x="668372" y="2207783"/>
                  </a:lnTo>
                  <a:cubicBezTo>
                    <a:pt x="681918" y="2184322"/>
                    <a:pt x="697567" y="2163185"/>
                    <a:pt x="714653" y="2144671"/>
                  </a:cubicBezTo>
                  <a:lnTo>
                    <a:pt x="759050" y="2106359"/>
                  </a:lnTo>
                  <a:lnTo>
                    <a:pt x="755857" y="2071559"/>
                  </a:lnTo>
                  <a:lnTo>
                    <a:pt x="755857" y="1160834"/>
                  </a:lnTo>
                  <a:lnTo>
                    <a:pt x="267109" y="1443012"/>
                  </a:lnTo>
                  <a:cubicBezTo>
                    <a:pt x="178001" y="1494459"/>
                    <a:pt x="67789" y="1470426"/>
                    <a:pt x="20957" y="1389312"/>
                  </a:cubicBezTo>
                  <a:cubicBezTo>
                    <a:pt x="-25874" y="1308198"/>
                    <a:pt x="8419" y="1200735"/>
                    <a:pt x="97527" y="1149289"/>
                  </a:cubicBezTo>
                  <a:lnTo>
                    <a:pt x="777797" y="756535"/>
                  </a:lnTo>
                  <a:cubicBezTo>
                    <a:pt x="800074" y="743673"/>
                    <a:pt x="823670" y="735529"/>
                    <a:pt x="847265" y="731815"/>
                  </a:cubicBezTo>
                  <a:lnTo>
                    <a:pt x="893762" y="733060"/>
                  </a:lnTo>
                  <a:lnTo>
                    <a:pt x="901290" y="727483"/>
                  </a:lnTo>
                  <a:cubicBezTo>
                    <a:pt x="929779" y="714243"/>
                    <a:pt x="961102" y="706921"/>
                    <a:pt x="993982" y="706921"/>
                  </a:cubicBezTo>
                  <a:close/>
                  <a:moveTo>
                    <a:pt x="993981" y="0"/>
                  </a:moveTo>
                  <a:cubicBezTo>
                    <a:pt x="1183359" y="0"/>
                    <a:pt x="1336881" y="153522"/>
                    <a:pt x="1336881" y="342900"/>
                  </a:cubicBezTo>
                  <a:cubicBezTo>
                    <a:pt x="1336881" y="532278"/>
                    <a:pt x="1183359" y="685800"/>
                    <a:pt x="993981" y="685800"/>
                  </a:cubicBezTo>
                  <a:cubicBezTo>
                    <a:pt x="804603" y="685800"/>
                    <a:pt x="651081" y="532278"/>
                    <a:pt x="651081" y="342900"/>
                  </a:cubicBezTo>
                  <a:cubicBezTo>
                    <a:pt x="651081" y="153522"/>
                    <a:pt x="804603" y="0"/>
                    <a:pt x="99398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t" anchorCtr="0"/>
            <a:lstStyle/>
            <a:p>
              <a:pPr algn="ctr" defTabSz="685598"/>
              <a:endParaRPr lang="en-US" sz="1176" spc="-75" dirty="0">
                <a:gradFill>
                  <a:gsLst>
                    <a:gs pos="0">
                      <a:srgbClr val="FFFFFF"/>
                    </a:gs>
                    <a:gs pos="100000">
                      <a:srgbClr val="FFFFFF"/>
                    </a:gs>
                  </a:gsLst>
                  <a:lin ang="5400000" scaled="0"/>
                </a:gradFill>
                <a:ea typeface="Segoe UI" pitchFamily="34" charset="0"/>
                <a:cs typeface="Segoe UI" pitchFamily="34" charset="0"/>
              </a:endParaRPr>
            </a:p>
          </p:txBody>
        </p:sp>
        <p:sp>
          <p:nvSpPr>
            <p:cNvPr id="33" name="Freeform 32"/>
            <p:cNvSpPr/>
            <p:nvPr/>
          </p:nvSpPr>
          <p:spPr bwMode="auto">
            <a:xfrm>
              <a:off x="6338338" y="5611496"/>
              <a:ext cx="504890" cy="912700"/>
            </a:xfrm>
            <a:custGeom>
              <a:avLst/>
              <a:gdLst>
                <a:gd name="connsiteX0" fmla="*/ 993982 w 1938076"/>
                <a:gd name="connsiteY0" fmla="*/ 706921 h 3503500"/>
                <a:gd name="connsiteX1" fmla="*/ 1086674 w 1938076"/>
                <a:gd name="connsiteY1" fmla="*/ 727483 h 3503500"/>
                <a:gd name="connsiteX2" fmla="*/ 1094101 w 1938076"/>
                <a:gd name="connsiteY2" fmla="*/ 732985 h 3503500"/>
                <a:gd name="connsiteX3" fmla="*/ 1160279 w 1938076"/>
                <a:gd name="connsiteY3" fmla="*/ 756535 h 3503500"/>
                <a:gd name="connsiteX4" fmla="*/ 1840549 w 1938076"/>
                <a:gd name="connsiteY4" fmla="*/ 1149289 h 3503500"/>
                <a:gd name="connsiteX5" fmla="*/ 1917119 w 1938076"/>
                <a:gd name="connsiteY5" fmla="*/ 1389312 h 3503500"/>
                <a:gd name="connsiteX6" fmla="*/ 1670967 w 1938076"/>
                <a:gd name="connsiteY6" fmla="*/ 1443012 h 3503500"/>
                <a:gd name="connsiteX7" fmla="*/ 1232107 w 1938076"/>
                <a:gd name="connsiteY7" fmla="*/ 1189637 h 3503500"/>
                <a:gd name="connsiteX8" fmla="*/ 1232107 w 1938076"/>
                <a:gd name="connsiteY8" fmla="*/ 2071559 h 3503500"/>
                <a:gd name="connsiteX9" fmla="*/ 1227350 w 1938076"/>
                <a:gd name="connsiteY9" fmla="*/ 2123404 h 3503500"/>
                <a:gd name="connsiteX10" fmla="*/ 1232751 w 1938076"/>
                <a:gd name="connsiteY10" fmla="*/ 2127041 h 3503500"/>
                <a:gd name="connsiteX11" fmla="*/ 1296572 w 1938076"/>
                <a:gd name="connsiteY11" fmla="*/ 2207782 h 3503500"/>
                <a:gd name="connsiteX12" fmla="*/ 1848074 w 1938076"/>
                <a:gd name="connsiteY12" fmla="*/ 3163012 h 3503500"/>
                <a:gd name="connsiteX13" fmla="*/ 1814681 w 1938076"/>
                <a:gd name="connsiteY13" fmla="*/ 3484401 h 3503500"/>
                <a:gd name="connsiteX14" fmla="*/ 1519652 w 1938076"/>
                <a:gd name="connsiteY14" fmla="*/ 3352626 h 3503500"/>
                <a:gd name="connsiteX15" fmla="*/ 982472 w 1938076"/>
                <a:gd name="connsiteY15" fmla="*/ 2422203 h 3503500"/>
                <a:gd name="connsiteX16" fmla="*/ 445292 w 1938076"/>
                <a:gd name="connsiteY16" fmla="*/ 3352626 h 3503500"/>
                <a:gd name="connsiteX17" fmla="*/ 150263 w 1938076"/>
                <a:gd name="connsiteY17" fmla="*/ 3484402 h 3503500"/>
                <a:gd name="connsiteX18" fmla="*/ 116869 w 1938076"/>
                <a:gd name="connsiteY18" fmla="*/ 3163011 h 3503500"/>
                <a:gd name="connsiteX19" fmla="*/ 668372 w 1938076"/>
                <a:gd name="connsiteY19" fmla="*/ 2207783 h 3503500"/>
                <a:gd name="connsiteX20" fmla="*/ 714653 w 1938076"/>
                <a:gd name="connsiteY20" fmla="*/ 2144671 h 3503500"/>
                <a:gd name="connsiteX21" fmla="*/ 759050 w 1938076"/>
                <a:gd name="connsiteY21" fmla="*/ 2106359 h 3503500"/>
                <a:gd name="connsiteX22" fmla="*/ 755857 w 1938076"/>
                <a:gd name="connsiteY22" fmla="*/ 2071559 h 3503500"/>
                <a:gd name="connsiteX23" fmla="*/ 755857 w 1938076"/>
                <a:gd name="connsiteY23" fmla="*/ 1160834 h 3503500"/>
                <a:gd name="connsiteX24" fmla="*/ 267109 w 1938076"/>
                <a:gd name="connsiteY24" fmla="*/ 1443012 h 3503500"/>
                <a:gd name="connsiteX25" fmla="*/ 20957 w 1938076"/>
                <a:gd name="connsiteY25" fmla="*/ 1389312 h 3503500"/>
                <a:gd name="connsiteX26" fmla="*/ 97527 w 1938076"/>
                <a:gd name="connsiteY26" fmla="*/ 1149289 h 3503500"/>
                <a:gd name="connsiteX27" fmla="*/ 777797 w 1938076"/>
                <a:gd name="connsiteY27" fmla="*/ 756535 h 3503500"/>
                <a:gd name="connsiteX28" fmla="*/ 847265 w 1938076"/>
                <a:gd name="connsiteY28" fmla="*/ 731815 h 3503500"/>
                <a:gd name="connsiteX29" fmla="*/ 893762 w 1938076"/>
                <a:gd name="connsiteY29" fmla="*/ 733060 h 3503500"/>
                <a:gd name="connsiteX30" fmla="*/ 901290 w 1938076"/>
                <a:gd name="connsiteY30" fmla="*/ 727483 h 3503500"/>
                <a:gd name="connsiteX31" fmla="*/ 993982 w 1938076"/>
                <a:gd name="connsiteY31" fmla="*/ 706921 h 3503500"/>
                <a:gd name="connsiteX32" fmla="*/ 993981 w 1938076"/>
                <a:gd name="connsiteY32" fmla="*/ 0 h 3503500"/>
                <a:gd name="connsiteX33" fmla="*/ 1336881 w 1938076"/>
                <a:gd name="connsiteY33" fmla="*/ 342900 h 3503500"/>
                <a:gd name="connsiteX34" fmla="*/ 993981 w 1938076"/>
                <a:gd name="connsiteY34" fmla="*/ 685800 h 3503500"/>
                <a:gd name="connsiteX35" fmla="*/ 651081 w 1938076"/>
                <a:gd name="connsiteY35" fmla="*/ 342900 h 3503500"/>
                <a:gd name="connsiteX36" fmla="*/ 993981 w 1938076"/>
                <a:gd name="connsiteY36" fmla="*/ 0 h 35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8076" h="3503500">
                  <a:moveTo>
                    <a:pt x="993982" y="706921"/>
                  </a:moveTo>
                  <a:cubicBezTo>
                    <a:pt x="1026862" y="706921"/>
                    <a:pt x="1058185" y="714243"/>
                    <a:pt x="1086674" y="727483"/>
                  </a:cubicBezTo>
                  <a:lnTo>
                    <a:pt x="1094101" y="732985"/>
                  </a:lnTo>
                  <a:lnTo>
                    <a:pt x="1160279" y="756535"/>
                  </a:lnTo>
                  <a:lnTo>
                    <a:pt x="1840549" y="1149289"/>
                  </a:lnTo>
                  <a:cubicBezTo>
                    <a:pt x="1929657" y="1200736"/>
                    <a:pt x="1963949" y="1308199"/>
                    <a:pt x="1917119" y="1389312"/>
                  </a:cubicBezTo>
                  <a:cubicBezTo>
                    <a:pt x="1870287" y="1470426"/>
                    <a:pt x="1760075" y="1494459"/>
                    <a:pt x="1670967" y="1443012"/>
                  </a:cubicBezTo>
                  <a:lnTo>
                    <a:pt x="1232107" y="1189637"/>
                  </a:lnTo>
                  <a:lnTo>
                    <a:pt x="1232107" y="2071559"/>
                  </a:lnTo>
                  <a:lnTo>
                    <a:pt x="1227350" y="2123404"/>
                  </a:lnTo>
                  <a:lnTo>
                    <a:pt x="1232751" y="2127041"/>
                  </a:lnTo>
                  <a:cubicBezTo>
                    <a:pt x="1256711" y="2149351"/>
                    <a:pt x="1278511" y="2176501"/>
                    <a:pt x="1296572" y="2207782"/>
                  </a:cubicBezTo>
                  <a:lnTo>
                    <a:pt x="1848074" y="3163012"/>
                  </a:lnTo>
                  <a:cubicBezTo>
                    <a:pt x="1920315" y="3288137"/>
                    <a:pt x="1905376" y="3432038"/>
                    <a:pt x="1814681" y="3484401"/>
                  </a:cubicBezTo>
                  <a:cubicBezTo>
                    <a:pt x="1723984" y="3536765"/>
                    <a:pt x="1591893" y="3477752"/>
                    <a:pt x="1519652" y="3352626"/>
                  </a:cubicBezTo>
                  <a:lnTo>
                    <a:pt x="982472" y="2422203"/>
                  </a:lnTo>
                  <a:lnTo>
                    <a:pt x="445292" y="3352626"/>
                  </a:lnTo>
                  <a:cubicBezTo>
                    <a:pt x="373050" y="3477752"/>
                    <a:pt x="240960" y="3536765"/>
                    <a:pt x="150263" y="3484402"/>
                  </a:cubicBezTo>
                  <a:cubicBezTo>
                    <a:pt x="59567" y="3432038"/>
                    <a:pt x="44629" y="3288137"/>
                    <a:pt x="116869" y="3163011"/>
                  </a:cubicBezTo>
                  <a:lnTo>
                    <a:pt x="668372" y="2207783"/>
                  </a:lnTo>
                  <a:cubicBezTo>
                    <a:pt x="681918" y="2184322"/>
                    <a:pt x="697567" y="2163185"/>
                    <a:pt x="714653" y="2144671"/>
                  </a:cubicBezTo>
                  <a:lnTo>
                    <a:pt x="759050" y="2106359"/>
                  </a:lnTo>
                  <a:lnTo>
                    <a:pt x="755857" y="2071559"/>
                  </a:lnTo>
                  <a:lnTo>
                    <a:pt x="755857" y="1160834"/>
                  </a:lnTo>
                  <a:lnTo>
                    <a:pt x="267109" y="1443012"/>
                  </a:lnTo>
                  <a:cubicBezTo>
                    <a:pt x="178001" y="1494459"/>
                    <a:pt x="67789" y="1470426"/>
                    <a:pt x="20957" y="1389312"/>
                  </a:cubicBezTo>
                  <a:cubicBezTo>
                    <a:pt x="-25874" y="1308198"/>
                    <a:pt x="8419" y="1200735"/>
                    <a:pt x="97527" y="1149289"/>
                  </a:cubicBezTo>
                  <a:lnTo>
                    <a:pt x="777797" y="756535"/>
                  </a:lnTo>
                  <a:cubicBezTo>
                    <a:pt x="800074" y="743673"/>
                    <a:pt x="823670" y="735529"/>
                    <a:pt x="847265" y="731815"/>
                  </a:cubicBezTo>
                  <a:lnTo>
                    <a:pt x="893762" y="733060"/>
                  </a:lnTo>
                  <a:lnTo>
                    <a:pt x="901290" y="727483"/>
                  </a:lnTo>
                  <a:cubicBezTo>
                    <a:pt x="929779" y="714243"/>
                    <a:pt x="961102" y="706921"/>
                    <a:pt x="993982" y="706921"/>
                  </a:cubicBezTo>
                  <a:close/>
                  <a:moveTo>
                    <a:pt x="993981" y="0"/>
                  </a:moveTo>
                  <a:cubicBezTo>
                    <a:pt x="1183359" y="0"/>
                    <a:pt x="1336881" y="153522"/>
                    <a:pt x="1336881" y="342900"/>
                  </a:cubicBezTo>
                  <a:cubicBezTo>
                    <a:pt x="1336881" y="532278"/>
                    <a:pt x="1183359" y="685800"/>
                    <a:pt x="993981" y="685800"/>
                  </a:cubicBezTo>
                  <a:cubicBezTo>
                    <a:pt x="804603" y="685800"/>
                    <a:pt x="651081" y="532278"/>
                    <a:pt x="651081" y="342900"/>
                  </a:cubicBezTo>
                  <a:cubicBezTo>
                    <a:pt x="651081" y="153522"/>
                    <a:pt x="804603" y="0"/>
                    <a:pt x="99398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t" anchorCtr="0"/>
            <a:lstStyle/>
            <a:p>
              <a:pPr algn="ctr" defTabSz="685598"/>
              <a:endParaRPr lang="en-US" sz="1176" spc="-75"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7" name="Group 46"/>
          <p:cNvGrpSpPr/>
          <p:nvPr>
            <p:custDataLst>
              <p:custData r:id="rId3"/>
            </p:custDataLst>
          </p:nvPr>
        </p:nvGrpSpPr>
        <p:grpSpPr>
          <a:xfrm>
            <a:off x="3585296" y="5306439"/>
            <a:ext cx="1004578" cy="1255014"/>
            <a:chOff x="463390" y="6616489"/>
            <a:chExt cx="1004578" cy="1255014"/>
          </a:xfrm>
        </p:grpSpPr>
        <p:sp>
          <p:nvSpPr>
            <p:cNvPr id="48" name="Freeform 47"/>
            <p:cNvSpPr/>
            <p:nvPr/>
          </p:nvSpPr>
          <p:spPr bwMode="auto">
            <a:xfrm>
              <a:off x="463390" y="6616489"/>
              <a:ext cx="1004578" cy="1004578"/>
            </a:xfrm>
            <a:custGeom>
              <a:avLst/>
              <a:gdLst>
                <a:gd name="connsiteX0" fmla="*/ 533769 w 1004578"/>
                <a:gd name="connsiteY0" fmla="*/ 537339 h 1004578"/>
                <a:gd name="connsiteX1" fmla="*/ 533769 w 1004578"/>
                <a:gd name="connsiteY1" fmla="*/ 918339 h 1004578"/>
                <a:gd name="connsiteX2" fmla="*/ 914769 w 1004578"/>
                <a:gd name="connsiteY2" fmla="*/ 918339 h 1004578"/>
                <a:gd name="connsiteX3" fmla="*/ 914769 w 1004578"/>
                <a:gd name="connsiteY3" fmla="*/ 537339 h 1004578"/>
                <a:gd name="connsiteX4" fmla="*/ 89809 w 1004578"/>
                <a:gd name="connsiteY4" fmla="*/ 537339 h 1004578"/>
                <a:gd name="connsiteX5" fmla="*/ 89809 w 1004578"/>
                <a:gd name="connsiteY5" fmla="*/ 918339 h 1004578"/>
                <a:gd name="connsiteX6" fmla="*/ 470809 w 1004578"/>
                <a:gd name="connsiteY6" fmla="*/ 918339 h 1004578"/>
                <a:gd name="connsiteX7" fmla="*/ 470809 w 1004578"/>
                <a:gd name="connsiteY7" fmla="*/ 537339 h 1004578"/>
                <a:gd name="connsiteX8" fmla="*/ 731654 w 1004578"/>
                <a:gd name="connsiteY8" fmla="*/ 284124 h 1004578"/>
                <a:gd name="connsiteX9" fmla="*/ 731654 w 1004578"/>
                <a:gd name="connsiteY9" fmla="*/ 467239 h 1004578"/>
                <a:gd name="connsiteX10" fmla="*/ 914769 w 1004578"/>
                <a:gd name="connsiteY10" fmla="*/ 467239 h 1004578"/>
                <a:gd name="connsiteX11" fmla="*/ 914769 w 1004578"/>
                <a:gd name="connsiteY11" fmla="*/ 284124 h 1004578"/>
                <a:gd name="connsiteX12" fmla="*/ 533769 w 1004578"/>
                <a:gd name="connsiteY12" fmla="*/ 284124 h 1004578"/>
                <a:gd name="connsiteX13" fmla="*/ 533769 w 1004578"/>
                <a:gd name="connsiteY13" fmla="*/ 467239 h 1004578"/>
                <a:gd name="connsiteX14" fmla="*/ 716884 w 1004578"/>
                <a:gd name="connsiteY14" fmla="*/ 467239 h 1004578"/>
                <a:gd name="connsiteX15" fmla="*/ 716884 w 1004578"/>
                <a:gd name="connsiteY15" fmla="*/ 284124 h 1004578"/>
                <a:gd name="connsiteX16" fmla="*/ 730735 w 1004578"/>
                <a:gd name="connsiteY16" fmla="*/ 86239 h 1004578"/>
                <a:gd name="connsiteX17" fmla="*/ 730735 w 1004578"/>
                <a:gd name="connsiteY17" fmla="*/ 269354 h 1004578"/>
                <a:gd name="connsiteX18" fmla="*/ 913850 w 1004578"/>
                <a:gd name="connsiteY18" fmla="*/ 269354 h 1004578"/>
                <a:gd name="connsiteX19" fmla="*/ 913850 w 1004578"/>
                <a:gd name="connsiteY19" fmla="*/ 86239 h 1004578"/>
                <a:gd name="connsiteX20" fmla="*/ 533769 w 1004578"/>
                <a:gd name="connsiteY20" fmla="*/ 86239 h 1004578"/>
                <a:gd name="connsiteX21" fmla="*/ 533769 w 1004578"/>
                <a:gd name="connsiteY21" fmla="*/ 269354 h 1004578"/>
                <a:gd name="connsiteX22" fmla="*/ 716884 w 1004578"/>
                <a:gd name="connsiteY22" fmla="*/ 269354 h 1004578"/>
                <a:gd name="connsiteX23" fmla="*/ 716884 w 1004578"/>
                <a:gd name="connsiteY23" fmla="*/ 86239 h 1004578"/>
                <a:gd name="connsiteX24" fmla="*/ 89809 w 1004578"/>
                <a:gd name="connsiteY24" fmla="*/ 86239 h 1004578"/>
                <a:gd name="connsiteX25" fmla="*/ 89809 w 1004578"/>
                <a:gd name="connsiteY25" fmla="*/ 467239 h 1004578"/>
                <a:gd name="connsiteX26" fmla="*/ 470809 w 1004578"/>
                <a:gd name="connsiteY26" fmla="*/ 467239 h 1004578"/>
                <a:gd name="connsiteX27" fmla="*/ 470809 w 1004578"/>
                <a:gd name="connsiteY27" fmla="*/ 86239 h 1004578"/>
                <a:gd name="connsiteX28" fmla="*/ 0 w 1004578"/>
                <a:gd name="connsiteY28" fmla="*/ 0 h 1004578"/>
                <a:gd name="connsiteX29" fmla="*/ 1004578 w 1004578"/>
                <a:gd name="connsiteY29" fmla="*/ 0 h 1004578"/>
                <a:gd name="connsiteX30" fmla="*/ 1004578 w 1004578"/>
                <a:gd name="connsiteY30" fmla="*/ 1004578 h 1004578"/>
                <a:gd name="connsiteX31" fmla="*/ 0 w 1004578"/>
                <a:gd name="connsiteY31" fmla="*/ 1004578 h 100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4578" h="1004578">
                  <a:moveTo>
                    <a:pt x="533769" y="537339"/>
                  </a:moveTo>
                  <a:lnTo>
                    <a:pt x="533769" y="918339"/>
                  </a:lnTo>
                  <a:lnTo>
                    <a:pt x="914769" y="918339"/>
                  </a:lnTo>
                  <a:lnTo>
                    <a:pt x="914769" y="537339"/>
                  </a:lnTo>
                  <a:close/>
                  <a:moveTo>
                    <a:pt x="89809" y="537339"/>
                  </a:moveTo>
                  <a:lnTo>
                    <a:pt x="89809" y="918339"/>
                  </a:lnTo>
                  <a:lnTo>
                    <a:pt x="470809" y="918339"/>
                  </a:lnTo>
                  <a:lnTo>
                    <a:pt x="470809" y="537339"/>
                  </a:lnTo>
                  <a:close/>
                  <a:moveTo>
                    <a:pt x="731654" y="284124"/>
                  </a:moveTo>
                  <a:lnTo>
                    <a:pt x="731654" y="467239"/>
                  </a:lnTo>
                  <a:lnTo>
                    <a:pt x="914769" y="467239"/>
                  </a:lnTo>
                  <a:lnTo>
                    <a:pt x="914769" y="284124"/>
                  </a:lnTo>
                  <a:close/>
                  <a:moveTo>
                    <a:pt x="533769" y="284124"/>
                  </a:moveTo>
                  <a:lnTo>
                    <a:pt x="533769" y="467239"/>
                  </a:lnTo>
                  <a:lnTo>
                    <a:pt x="716884" y="467239"/>
                  </a:lnTo>
                  <a:lnTo>
                    <a:pt x="716884" y="284124"/>
                  </a:lnTo>
                  <a:close/>
                  <a:moveTo>
                    <a:pt x="730735" y="86239"/>
                  </a:moveTo>
                  <a:lnTo>
                    <a:pt x="730735" y="269354"/>
                  </a:lnTo>
                  <a:lnTo>
                    <a:pt x="913850" y="269354"/>
                  </a:lnTo>
                  <a:lnTo>
                    <a:pt x="913850" y="86239"/>
                  </a:lnTo>
                  <a:close/>
                  <a:moveTo>
                    <a:pt x="533769" y="86239"/>
                  </a:moveTo>
                  <a:lnTo>
                    <a:pt x="533769" y="269354"/>
                  </a:lnTo>
                  <a:lnTo>
                    <a:pt x="716884" y="269354"/>
                  </a:lnTo>
                  <a:lnTo>
                    <a:pt x="716884" y="86239"/>
                  </a:lnTo>
                  <a:close/>
                  <a:moveTo>
                    <a:pt x="89809" y="86239"/>
                  </a:moveTo>
                  <a:lnTo>
                    <a:pt x="89809" y="467239"/>
                  </a:lnTo>
                  <a:lnTo>
                    <a:pt x="470809" y="467239"/>
                  </a:lnTo>
                  <a:lnTo>
                    <a:pt x="470809" y="86239"/>
                  </a:lnTo>
                  <a:close/>
                  <a:moveTo>
                    <a:pt x="0" y="0"/>
                  </a:moveTo>
                  <a:lnTo>
                    <a:pt x="1004578" y="0"/>
                  </a:lnTo>
                  <a:lnTo>
                    <a:pt x="1004578" y="1004578"/>
                  </a:lnTo>
                  <a:lnTo>
                    <a:pt x="0" y="1004578"/>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49" name="TextBox 48"/>
            <p:cNvSpPr txBox="1"/>
            <p:nvPr/>
          </p:nvSpPr>
          <p:spPr>
            <a:xfrm>
              <a:off x="662551" y="7502171"/>
              <a:ext cx="606256" cy="369332"/>
            </a:xfrm>
            <a:prstGeom prst="rect">
              <a:avLst/>
            </a:prstGeom>
            <a:noFill/>
          </p:spPr>
          <p:txBody>
            <a:bodyPr wrap="none" rtlCol="0">
              <a:spAutoFit/>
            </a:bodyPr>
            <a:lstStyle/>
            <a:p>
              <a:pPr algn="ctr"/>
              <a:r>
                <a:rPr lang="en-US" dirty="0" smtClean="0">
                  <a:latin typeface="+mn-lt"/>
                </a:rPr>
                <a:t>App</a:t>
              </a:r>
              <a:endParaRPr lang="en-US" dirty="0">
                <a:latin typeface="+mn-lt"/>
              </a:endParaRPr>
            </a:p>
          </p:txBody>
        </p:sp>
      </p:grpSp>
      <p:grpSp>
        <p:nvGrpSpPr>
          <p:cNvPr id="52" name="Group 51"/>
          <p:cNvGrpSpPr/>
          <p:nvPr>
            <p:custDataLst>
              <p:custData r:id="rId4"/>
            </p:custDataLst>
          </p:nvPr>
        </p:nvGrpSpPr>
        <p:grpSpPr>
          <a:xfrm>
            <a:off x="9102019" y="1453301"/>
            <a:ext cx="1103379" cy="1373910"/>
            <a:chOff x="3723435" y="3901278"/>
            <a:chExt cx="1163607" cy="1448904"/>
          </a:xfrm>
        </p:grpSpPr>
        <p:sp>
          <p:nvSpPr>
            <p:cNvPr id="53" name="Freeform 52"/>
            <p:cNvSpPr/>
            <p:nvPr/>
          </p:nvSpPr>
          <p:spPr bwMode="auto">
            <a:xfrm>
              <a:off x="3783341" y="3901278"/>
              <a:ext cx="1043784" cy="1043784"/>
            </a:xfrm>
            <a:custGeom>
              <a:avLst/>
              <a:gdLst>
                <a:gd name="connsiteX0" fmla="*/ 1409700 w 2819400"/>
                <a:gd name="connsiteY0" fmla="*/ 952500 h 2819400"/>
                <a:gd name="connsiteX1" fmla="*/ 1866900 w 2819400"/>
                <a:gd name="connsiteY1" fmla="*/ 1409700 h 2819400"/>
                <a:gd name="connsiteX2" fmla="*/ 1409700 w 2819400"/>
                <a:gd name="connsiteY2" fmla="*/ 1866900 h 2819400"/>
                <a:gd name="connsiteX3" fmla="*/ 952500 w 2819400"/>
                <a:gd name="connsiteY3" fmla="*/ 1409700 h 2819400"/>
                <a:gd name="connsiteX4" fmla="*/ 1409700 w 2819400"/>
                <a:gd name="connsiteY4" fmla="*/ 952500 h 2819400"/>
                <a:gd name="connsiteX5" fmla="*/ 1333500 w 2819400"/>
                <a:gd name="connsiteY5" fmla="*/ 419100 h 2819400"/>
                <a:gd name="connsiteX6" fmla="*/ 1333500 w 2819400"/>
                <a:gd name="connsiteY6" fmla="*/ 588645 h 2819400"/>
                <a:gd name="connsiteX7" fmla="*/ 1237641 w 2819400"/>
                <a:gd name="connsiteY7" fmla="*/ 599554 h 2819400"/>
                <a:gd name="connsiteX8" fmla="*/ 1159408 w 2819400"/>
                <a:gd name="connsiteY8" fmla="*/ 625030 h 2819400"/>
                <a:gd name="connsiteX9" fmla="*/ 1092784 w 2819400"/>
                <a:gd name="connsiteY9" fmla="*/ 468074 h 2819400"/>
                <a:gd name="connsiteX10" fmla="*/ 952499 w 2819400"/>
                <a:gd name="connsiteY10" fmla="*/ 527622 h 2819400"/>
                <a:gd name="connsiteX11" fmla="*/ 1017714 w 2819400"/>
                <a:gd name="connsiteY11" fmla="*/ 681258 h 2819400"/>
                <a:gd name="connsiteX12" fmla="*/ 995010 w 2819400"/>
                <a:gd name="connsiteY12" fmla="*/ 692834 h 2819400"/>
                <a:gd name="connsiteX13" fmla="*/ 904432 w 2819400"/>
                <a:gd name="connsiteY13" fmla="*/ 753403 h 2819400"/>
                <a:gd name="connsiteX14" fmla="*/ 870603 w 2819400"/>
                <a:gd name="connsiteY14" fmla="*/ 783170 h 2819400"/>
                <a:gd name="connsiteX15" fmla="*/ 750055 w 2819400"/>
                <a:gd name="connsiteY15" fmla="*/ 666758 h 2819400"/>
                <a:gd name="connsiteX16" fmla="*/ 644189 w 2819400"/>
                <a:gd name="connsiteY16" fmla="*/ 776385 h 2819400"/>
                <a:gd name="connsiteX17" fmla="*/ 764315 w 2819400"/>
                <a:gd name="connsiteY17" fmla="*/ 892389 h 2819400"/>
                <a:gd name="connsiteX18" fmla="*/ 749317 w 2819400"/>
                <a:gd name="connsiteY18" fmla="*/ 909661 h 2819400"/>
                <a:gd name="connsiteX19" fmla="*/ 687550 w 2819400"/>
                <a:gd name="connsiteY19" fmla="*/ 1004175 h 2819400"/>
                <a:gd name="connsiteX20" fmla="*/ 674871 w 2819400"/>
                <a:gd name="connsiteY20" fmla="*/ 1030626 h 2819400"/>
                <a:gd name="connsiteX21" fmla="*/ 519777 w 2819400"/>
                <a:gd name="connsiteY21" fmla="*/ 967963 h 2819400"/>
                <a:gd name="connsiteX22" fmla="*/ 462687 w 2819400"/>
                <a:gd name="connsiteY22" fmla="*/ 1109266 h 2819400"/>
                <a:gd name="connsiteX23" fmla="*/ 616892 w 2819400"/>
                <a:gd name="connsiteY23" fmla="*/ 1171569 h 2819400"/>
                <a:gd name="connsiteX24" fmla="*/ 614115 w 2819400"/>
                <a:gd name="connsiteY24" fmla="*/ 1179584 h 2819400"/>
                <a:gd name="connsiteX25" fmla="*/ 590611 w 2819400"/>
                <a:gd name="connsiteY25" fmla="*/ 1286378 h 2819400"/>
                <a:gd name="connsiteX26" fmla="*/ 586601 w 2819400"/>
                <a:gd name="connsiteY26" fmla="*/ 1333500 h 2819400"/>
                <a:gd name="connsiteX27" fmla="*/ 419100 w 2819400"/>
                <a:gd name="connsiteY27" fmla="*/ 1333500 h 2819400"/>
                <a:gd name="connsiteX28" fmla="*/ 419100 w 2819400"/>
                <a:gd name="connsiteY28" fmla="*/ 1485900 h 2819400"/>
                <a:gd name="connsiteX29" fmla="*/ 585667 w 2819400"/>
                <a:gd name="connsiteY29" fmla="*/ 1485900 h 2819400"/>
                <a:gd name="connsiteX30" fmla="*/ 586271 w 2819400"/>
                <a:gd name="connsiteY30" fmla="*/ 1499335 h 2819400"/>
                <a:gd name="connsiteX31" fmla="*/ 604381 w 2819400"/>
                <a:gd name="connsiteY31" fmla="*/ 1603015 h 2819400"/>
                <a:gd name="connsiteX32" fmla="*/ 623507 w 2819400"/>
                <a:gd name="connsiteY32" fmla="*/ 1660639 h 2819400"/>
                <a:gd name="connsiteX33" fmla="*/ 468074 w 2819400"/>
                <a:gd name="connsiteY33" fmla="*/ 1726616 h 2819400"/>
                <a:gd name="connsiteX34" fmla="*/ 527622 w 2819400"/>
                <a:gd name="connsiteY34" fmla="*/ 1866901 h 2819400"/>
                <a:gd name="connsiteX35" fmla="*/ 683091 w 2819400"/>
                <a:gd name="connsiteY35" fmla="*/ 1800908 h 2819400"/>
                <a:gd name="connsiteX36" fmla="*/ 713905 w 2819400"/>
                <a:gd name="connsiteY36" fmla="*/ 1858905 h 2819400"/>
                <a:gd name="connsiteX37" fmla="*/ 776434 w 2819400"/>
                <a:gd name="connsiteY37" fmla="*/ 1943602 h 2819400"/>
                <a:gd name="connsiteX38" fmla="*/ 782287 w 2819400"/>
                <a:gd name="connsiteY38" fmla="*/ 1949711 h 2819400"/>
                <a:gd name="connsiteX39" fmla="*/ 666758 w 2819400"/>
                <a:gd name="connsiteY39" fmla="*/ 2069345 h 2819400"/>
                <a:gd name="connsiteX40" fmla="*/ 776385 w 2819400"/>
                <a:gd name="connsiteY40" fmla="*/ 2175211 h 2819400"/>
                <a:gd name="connsiteX41" fmla="*/ 892759 w 2819400"/>
                <a:gd name="connsiteY41" fmla="*/ 2054702 h 2819400"/>
                <a:gd name="connsiteX42" fmla="*/ 933621 w 2819400"/>
                <a:gd name="connsiteY42" fmla="*/ 2087532 h 2819400"/>
                <a:gd name="connsiteX43" fmla="*/ 1027223 w 2819400"/>
                <a:gd name="connsiteY43" fmla="*/ 2144281 h 2819400"/>
                <a:gd name="connsiteX44" fmla="*/ 1030176 w 2819400"/>
                <a:gd name="connsiteY44" fmla="*/ 2145640 h 2819400"/>
                <a:gd name="connsiteX45" fmla="*/ 967963 w 2819400"/>
                <a:gd name="connsiteY45" fmla="*/ 2299623 h 2819400"/>
                <a:gd name="connsiteX46" fmla="*/ 1109266 w 2819400"/>
                <a:gd name="connsiteY46" fmla="*/ 2356713 h 2819400"/>
                <a:gd name="connsiteX47" fmla="*/ 1171569 w 2819400"/>
                <a:gd name="connsiteY47" fmla="*/ 2202508 h 2819400"/>
                <a:gd name="connsiteX48" fmla="*/ 1179584 w 2819400"/>
                <a:gd name="connsiteY48" fmla="*/ 2205285 h 2819400"/>
                <a:gd name="connsiteX49" fmla="*/ 1260524 w 2819400"/>
                <a:gd name="connsiteY49" fmla="*/ 2224452 h 2819400"/>
                <a:gd name="connsiteX50" fmla="*/ 1333500 w 2819400"/>
                <a:gd name="connsiteY50" fmla="*/ 2230522 h 2819400"/>
                <a:gd name="connsiteX51" fmla="*/ 1333500 w 2819400"/>
                <a:gd name="connsiteY51" fmla="*/ 2400300 h 2819400"/>
                <a:gd name="connsiteX52" fmla="*/ 1485900 w 2819400"/>
                <a:gd name="connsiteY52" fmla="*/ 2400300 h 2819400"/>
                <a:gd name="connsiteX53" fmla="*/ 1485900 w 2819400"/>
                <a:gd name="connsiteY53" fmla="*/ 2230755 h 2819400"/>
                <a:gd name="connsiteX54" fmla="*/ 1581759 w 2819400"/>
                <a:gd name="connsiteY54" fmla="*/ 2219846 h 2819400"/>
                <a:gd name="connsiteX55" fmla="*/ 1659992 w 2819400"/>
                <a:gd name="connsiteY55" fmla="*/ 2194370 h 2819400"/>
                <a:gd name="connsiteX56" fmla="*/ 1726616 w 2819400"/>
                <a:gd name="connsiteY56" fmla="*/ 2351326 h 2819400"/>
                <a:gd name="connsiteX57" fmla="*/ 1866901 w 2819400"/>
                <a:gd name="connsiteY57" fmla="*/ 2291779 h 2819400"/>
                <a:gd name="connsiteX58" fmla="*/ 1801686 w 2819400"/>
                <a:gd name="connsiteY58" fmla="*/ 2138142 h 2819400"/>
                <a:gd name="connsiteX59" fmla="*/ 1824391 w 2819400"/>
                <a:gd name="connsiteY59" fmla="*/ 2126566 h 2819400"/>
                <a:gd name="connsiteX60" fmla="*/ 1914968 w 2819400"/>
                <a:gd name="connsiteY60" fmla="*/ 2065997 h 2819400"/>
                <a:gd name="connsiteX61" fmla="*/ 1948797 w 2819400"/>
                <a:gd name="connsiteY61" fmla="*/ 2036230 h 2819400"/>
                <a:gd name="connsiteX62" fmla="*/ 2069345 w 2819400"/>
                <a:gd name="connsiteY62" fmla="*/ 2152642 h 2819400"/>
                <a:gd name="connsiteX63" fmla="*/ 2175211 w 2819400"/>
                <a:gd name="connsiteY63" fmla="*/ 2043015 h 2819400"/>
                <a:gd name="connsiteX64" fmla="*/ 2055085 w 2819400"/>
                <a:gd name="connsiteY64" fmla="*/ 1927011 h 2819400"/>
                <a:gd name="connsiteX65" fmla="*/ 2070083 w 2819400"/>
                <a:gd name="connsiteY65" fmla="*/ 1909739 h 2819400"/>
                <a:gd name="connsiteX66" fmla="*/ 2131851 w 2819400"/>
                <a:gd name="connsiteY66" fmla="*/ 1815225 h 2819400"/>
                <a:gd name="connsiteX67" fmla="*/ 2144529 w 2819400"/>
                <a:gd name="connsiteY67" fmla="*/ 1788775 h 2819400"/>
                <a:gd name="connsiteX68" fmla="*/ 2299623 w 2819400"/>
                <a:gd name="connsiteY68" fmla="*/ 1851437 h 2819400"/>
                <a:gd name="connsiteX69" fmla="*/ 2356713 w 2819400"/>
                <a:gd name="connsiteY69" fmla="*/ 1710134 h 2819400"/>
                <a:gd name="connsiteX70" fmla="*/ 2202508 w 2819400"/>
                <a:gd name="connsiteY70" fmla="*/ 1647831 h 2819400"/>
                <a:gd name="connsiteX71" fmla="*/ 2205285 w 2819400"/>
                <a:gd name="connsiteY71" fmla="*/ 1639816 h 2819400"/>
                <a:gd name="connsiteX72" fmla="*/ 2228789 w 2819400"/>
                <a:gd name="connsiteY72" fmla="*/ 1533022 h 2819400"/>
                <a:gd name="connsiteX73" fmla="*/ 2232799 w 2819400"/>
                <a:gd name="connsiteY73" fmla="*/ 1485900 h 2819400"/>
                <a:gd name="connsiteX74" fmla="*/ 2400300 w 2819400"/>
                <a:gd name="connsiteY74" fmla="*/ 1485900 h 2819400"/>
                <a:gd name="connsiteX75" fmla="*/ 2400300 w 2819400"/>
                <a:gd name="connsiteY75" fmla="*/ 1333500 h 2819400"/>
                <a:gd name="connsiteX76" fmla="*/ 2233733 w 2819400"/>
                <a:gd name="connsiteY76" fmla="*/ 1333500 h 2819400"/>
                <a:gd name="connsiteX77" fmla="*/ 2233129 w 2819400"/>
                <a:gd name="connsiteY77" fmla="*/ 1320065 h 2819400"/>
                <a:gd name="connsiteX78" fmla="*/ 2215019 w 2819400"/>
                <a:gd name="connsiteY78" fmla="*/ 1216385 h 2819400"/>
                <a:gd name="connsiteX79" fmla="*/ 2195893 w 2819400"/>
                <a:gd name="connsiteY79" fmla="*/ 1158761 h 2819400"/>
                <a:gd name="connsiteX80" fmla="*/ 2351326 w 2819400"/>
                <a:gd name="connsiteY80" fmla="*/ 1092784 h 2819400"/>
                <a:gd name="connsiteX81" fmla="*/ 2291778 w 2819400"/>
                <a:gd name="connsiteY81" fmla="*/ 952499 h 2819400"/>
                <a:gd name="connsiteX82" fmla="*/ 2136309 w 2819400"/>
                <a:gd name="connsiteY82" fmla="*/ 1018492 h 2819400"/>
                <a:gd name="connsiteX83" fmla="*/ 2105495 w 2819400"/>
                <a:gd name="connsiteY83" fmla="*/ 960495 h 2819400"/>
                <a:gd name="connsiteX84" fmla="*/ 2042966 w 2819400"/>
                <a:gd name="connsiteY84" fmla="*/ 875798 h 2819400"/>
                <a:gd name="connsiteX85" fmla="*/ 2037113 w 2819400"/>
                <a:gd name="connsiteY85" fmla="*/ 869689 h 2819400"/>
                <a:gd name="connsiteX86" fmla="*/ 2152642 w 2819400"/>
                <a:gd name="connsiteY86" fmla="*/ 750055 h 2819400"/>
                <a:gd name="connsiteX87" fmla="*/ 2043015 w 2819400"/>
                <a:gd name="connsiteY87" fmla="*/ 644189 h 2819400"/>
                <a:gd name="connsiteX88" fmla="*/ 1926641 w 2819400"/>
                <a:gd name="connsiteY88" fmla="*/ 764698 h 2819400"/>
                <a:gd name="connsiteX89" fmla="*/ 1885779 w 2819400"/>
                <a:gd name="connsiteY89" fmla="*/ 731868 h 2819400"/>
                <a:gd name="connsiteX90" fmla="*/ 1792177 w 2819400"/>
                <a:gd name="connsiteY90" fmla="*/ 675118 h 2819400"/>
                <a:gd name="connsiteX91" fmla="*/ 1789224 w 2819400"/>
                <a:gd name="connsiteY91" fmla="*/ 673760 h 2819400"/>
                <a:gd name="connsiteX92" fmla="*/ 1851437 w 2819400"/>
                <a:gd name="connsiteY92" fmla="*/ 519777 h 2819400"/>
                <a:gd name="connsiteX93" fmla="*/ 1710134 w 2819400"/>
                <a:gd name="connsiteY93" fmla="*/ 462687 h 2819400"/>
                <a:gd name="connsiteX94" fmla="*/ 1647831 w 2819400"/>
                <a:gd name="connsiteY94" fmla="*/ 616892 h 2819400"/>
                <a:gd name="connsiteX95" fmla="*/ 1639816 w 2819400"/>
                <a:gd name="connsiteY95" fmla="*/ 614115 h 2819400"/>
                <a:gd name="connsiteX96" fmla="*/ 1558876 w 2819400"/>
                <a:gd name="connsiteY96" fmla="*/ 594948 h 2819400"/>
                <a:gd name="connsiteX97" fmla="*/ 1485900 w 2819400"/>
                <a:gd name="connsiteY97" fmla="*/ 588878 h 2819400"/>
                <a:gd name="connsiteX98" fmla="*/ 1485900 w 2819400"/>
                <a:gd name="connsiteY98" fmla="*/ 419100 h 2819400"/>
                <a:gd name="connsiteX99" fmla="*/ 0 w 2819400"/>
                <a:gd name="connsiteY99" fmla="*/ 0 h 2819400"/>
                <a:gd name="connsiteX100" fmla="*/ 2819400 w 2819400"/>
                <a:gd name="connsiteY100" fmla="*/ 0 h 2819400"/>
                <a:gd name="connsiteX101" fmla="*/ 2819400 w 2819400"/>
                <a:gd name="connsiteY101" fmla="*/ 2819400 h 2819400"/>
                <a:gd name="connsiteX102" fmla="*/ 0 w 2819400"/>
                <a:gd name="connsiteY102" fmla="*/ 2819400 h 28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819400" h="2819400">
                  <a:moveTo>
                    <a:pt x="1409700" y="952500"/>
                  </a:moveTo>
                  <a:cubicBezTo>
                    <a:pt x="1662205" y="952500"/>
                    <a:pt x="1866900" y="1157195"/>
                    <a:pt x="1866900" y="1409700"/>
                  </a:cubicBezTo>
                  <a:cubicBezTo>
                    <a:pt x="1866900" y="1662205"/>
                    <a:pt x="1662205" y="1866900"/>
                    <a:pt x="1409700" y="1866900"/>
                  </a:cubicBezTo>
                  <a:cubicBezTo>
                    <a:pt x="1157195" y="1866900"/>
                    <a:pt x="952500" y="1662205"/>
                    <a:pt x="952500" y="1409700"/>
                  </a:cubicBezTo>
                  <a:cubicBezTo>
                    <a:pt x="952500" y="1157195"/>
                    <a:pt x="1157195" y="952500"/>
                    <a:pt x="1409700" y="952500"/>
                  </a:cubicBezTo>
                  <a:close/>
                  <a:moveTo>
                    <a:pt x="1333500" y="419100"/>
                  </a:moveTo>
                  <a:lnTo>
                    <a:pt x="1333500" y="588645"/>
                  </a:lnTo>
                  <a:lnTo>
                    <a:pt x="1237641" y="599554"/>
                  </a:lnTo>
                  <a:lnTo>
                    <a:pt x="1159408" y="625030"/>
                  </a:lnTo>
                  <a:lnTo>
                    <a:pt x="1092784" y="468074"/>
                  </a:lnTo>
                  <a:lnTo>
                    <a:pt x="952499" y="527622"/>
                  </a:lnTo>
                  <a:lnTo>
                    <a:pt x="1017714" y="681258"/>
                  </a:lnTo>
                  <a:lnTo>
                    <a:pt x="995010" y="692834"/>
                  </a:lnTo>
                  <a:cubicBezTo>
                    <a:pt x="963601" y="710974"/>
                    <a:pt x="933332" y="731197"/>
                    <a:pt x="904432" y="753403"/>
                  </a:cubicBezTo>
                  <a:lnTo>
                    <a:pt x="870603" y="783170"/>
                  </a:lnTo>
                  <a:lnTo>
                    <a:pt x="750055" y="666758"/>
                  </a:lnTo>
                  <a:lnTo>
                    <a:pt x="644189" y="776385"/>
                  </a:lnTo>
                  <a:lnTo>
                    <a:pt x="764315" y="892389"/>
                  </a:lnTo>
                  <a:lnTo>
                    <a:pt x="749317" y="909661"/>
                  </a:lnTo>
                  <a:cubicBezTo>
                    <a:pt x="726820" y="939410"/>
                    <a:pt x="706153" y="970948"/>
                    <a:pt x="687550" y="1004175"/>
                  </a:cubicBezTo>
                  <a:lnTo>
                    <a:pt x="674871" y="1030626"/>
                  </a:lnTo>
                  <a:lnTo>
                    <a:pt x="519777" y="967963"/>
                  </a:lnTo>
                  <a:lnTo>
                    <a:pt x="462687" y="1109266"/>
                  </a:lnTo>
                  <a:lnTo>
                    <a:pt x="616892" y="1171569"/>
                  </a:lnTo>
                  <a:lnTo>
                    <a:pt x="614115" y="1179584"/>
                  </a:lnTo>
                  <a:cubicBezTo>
                    <a:pt x="603822" y="1215010"/>
                    <a:pt x="596017" y="1250677"/>
                    <a:pt x="590611" y="1286378"/>
                  </a:cubicBezTo>
                  <a:lnTo>
                    <a:pt x="586601" y="1333500"/>
                  </a:lnTo>
                  <a:lnTo>
                    <a:pt x="419100" y="1333500"/>
                  </a:lnTo>
                  <a:lnTo>
                    <a:pt x="419100" y="1485900"/>
                  </a:lnTo>
                  <a:lnTo>
                    <a:pt x="585667" y="1485900"/>
                  </a:lnTo>
                  <a:lnTo>
                    <a:pt x="586271" y="1499335"/>
                  </a:lnTo>
                  <a:cubicBezTo>
                    <a:pt x="590113" y="1534344"/>
                    <a:pt x="596179" y="1568973"/>
                    <a:pt x="604381" y="1603015"/>
                  </a:cubicBezTo>
                  <a:lnTo>
                    <a:pt x="623507" y="1660639"/>
                  </a:lnTo>
                  <a:lnTo>
                    <a:pt x="468074" y="1726616"/>
                  </a:lnTo>
                  <a:lnTo>
                    <a:pt x="527622" y="1866901"/>
                  </a:lnTo>
                  <a:lnTo>
                    <a:pt x="683091" y="1800908"/>
                  </a:lnTo>
                  <a:lnTo>
                    <a:pt x="713905" y="1858905"/>
                  </a:lnTo>
                  <a:cubicBezTo>
                    <a:pt x="732875" y="1888345"/>
                    <a:pt x="753748" y="1916647"/>
                    <a:pt x="776434" y="1943602"/>
                  </a:cubicBezTo>
                  <a:lnTo>
                    <a:pt x="782287" y="1949711"/>
                  </a:lnTo>
                  <a:lnTo>
                    <a:pt x="666758" y="2069345"/>
                  </a:lnTo>
                  <a:lnTo>
                    <a:pt x="776385" y="2175211"/>
                  </a:lnTo>
                  <a:lnTo>
                    <a:pt x="892759" y="2054702"/>
                  </a:lnTo>
                  <a:lnTo>
                    <a:pt x="933621" y="2087532"/>
                  </a:lnTo>
                  <a:cubicBezTo>
                    <a:pt x="963213" y="2108277"/>
                    <a:pt x="994443" y="2127263"/>
                    <a:pt x="1027223" y="2144281"/>
                  </a:cubicBezTo>
                  <a:lnTo>
                    <a:pt x="1030176" y="2145640"/>
                  </a:lnTo>
                  <a:lnTo>
                    <a:pt x="967963" y="2299623"/>
                  </a:lnTo>
                  <a:lnTo>
                    <a:pt x="1109266" y="2356713"/>
                  </a:lnTo>
                  <a:lnTo>
                    <a:pt x="1171569" y="2202508"/>
                  </a:lnTo>
                  <a:lnTo>
                    <a:pt x="1179584" y="2205285"/>
                  </a:lnTo>
                  <a:cubicBezTo>
                    <a:pt x="1206456" y="2213093"/>
                    <a:pt x="1233465" y="2219469"/>
                    <a:pt x="1260524" y="2224452"/>
                  </a:cubicBezTo>
                  <a:lnTo>
                    <a:pt x="1333500" y="2230522"/>
                  </a:lnTo>
                  <a:lnTo>
                    <a:pt x="1333500" y="2400300"/>
                  </a:lnTo>
                  <a:lnTo>
                    <a:pt x="1485900" y="2400300"/>
                  </a:lnTo>
                  <a:lnTo>
                    <a:pt x="1485900" y="2230755"/>
                  </a:lnTo>
                  <a:lnTo>
                    <a:pt x="1581759" y="2219846"/>
                  </a:lnTo>
                  <a:lnTo>
                    <a:pt x="1659992" y="2194370"/>
                  </a:lnTo>
                  <a:lnTo>
                    <a:pt x="1726616" y="2351326"/>
                  </a:lnTo>
                  <a:lnTo>
                    <a:pt x="1866901" y="2291779"/>
                  </a:lnTo>
                  <a:lnTo>
                    <a:pt x="1801686" y="2138142"/>
                  </a:lnTo>
                  <a:lnTo>
                    <a:pt x="1824391" y="2126566"/>
                  </a:lnTo>
                  <a:cubicBezTo>
                    <a:pt x="1855799" y="2108425"/>
                    <a:pt x="1886069" y="2088203"/>
                    <a:pt x="1914968" y="2065997"/>
                  </a:cubicBezTo>
                  <a:lnTo>
                    <a:pt x="1948797" y="2036230"/>
                  </a:lnTo>
                  <a:lnTo>
                    <a:pt x="2069345" y="2152642"/>
                  </a:lnTo>
                  <a:lnTo>
                    <a:pt x="2175211" y="2043015"/>
                  </a:lnTo>
                  <a:lnTo>
                    <a:pt x="2055085" y="1927011"/>
                  </a:lnTo>
                  <a:lnTo>
                    <a:pt x="2070083" y="1909739"/>
                  </a:lnTo>
                  <a:cubicBezTo>
                    <a:pt x="2092580" y="1879990"/>
                    <a:pt x="2113247" y="1848452"/>
                    <a:pt x="2131851" y="1815225"/>
                  </a:cubicBezTo>
                  <a:lnTo>
                    <a:pt x="2144529" y="1788775"/>
                  </a:lnTo>
                  <a:lnTo>
                    <a:pt x="2299623" y="1851437"/>
                  </a:lnTo>
                  <a:lnTo>
                    <a:pt x="2356713" y="1710134"/>
                  </a:lnTo>
                  <a:lnTo>
                    <a:pt x="2202508" y="1647831"/>
                  </a:lnTo>
                  <a:lnTo>
                    <a:pt x="2205285" y="1639816"/>
                  </a:lnTo>
                  <a:cubicBezTo>
                    <a:pt x="2215578" y="1604389"/>
                    <a:pt x="2223384" y="1568723"/>
                    <a:pt x="2228789" y="1533022"/>
                  </a:cubicBezTo>
                  <a:lnTo>
                    <a:pt x="2232799" y="1485900"/>
                  </a:lnTo>
                  <a:lnTo>
                    <a:pt x="2400300" y="1485900"/>
                  </a:lnTo>
                  <a:lnTo>
                    <a:pt x="2400300" y="1333500"/>
                  </a:lnTo>
                  <a:lnTo>
                    <a:pt x="2233733" y="1333500"/>
                  </a:lnTo>
                  <a:lnTo>
                    <a:pt x="2233129" y="1320065"/>
                  </a:lnTo>
                  <a:cubicBezTo>
                    <a:pt x="2229287" y="1285056"/>
                    <a:pt x="2223221" y="1250427"/>
                    <a:pt x="2215019" y="1216385"/>
                  </a:cubicBezTo>
                  <a:lnTo>
                    <a:pt x="2195893" y="1158761"/>
                  </a:lnTo>
                  <a:lnTo>
                    <a:pt x="2351326" y="1092784"/>
                  </a:lnTo>
                  <a:lnTo>
                    <a:pt x="2291778" y="952499"/>
                  </a:lnTo>
                  <a:lnTo>
                    <a:pt x="2136309" y="1018492"/>
                  </a:lnTo>
                  <a:lnTo>
                    <a:pt x="2105495" y="960495"/>
                  </a:lnTo>
                  <a:cubicBezTo>
                    <a:pt x="2086525" y="931054"/>
                    <a:pt x="2065652" y="902753"/>
                    <a:pt x="2042966" y="875798"/>
                  </a:cubicBezTo>
                  <a:lnTo>
                    <a:pt x="2037113" y="869689"/>
                  </a:lnTo>
                  <a:lnTo>
                    <a:pt x="2152642" y="750055"/>
                  </a:lnTo>
                  <a:lnTo>
                    <a:pt x="2043015" y="644189"/>
                  </a:lnTo>
                  <a:lnTo>
                    <a:pt x="1926641" y="764698"/>
                  </a:lnTo>
                  <a:lnTo>
                    <a:pt x="1885779" y="731868"/>
                  </a:lnTo>
                  <a:cubicBezTo>
                    <a:pt x="1856188" y="711122"/>
                    <a:pt x="1824957" y="692137"/>
                    <a:pt x="1792177" y="675118"/>
                  </a:cubicBezTo>
                  <a:lnTo>
                    <a:pt x="1789224" y="673760"/>
                  </a:lnTo>
                  <a:lnTo>
                    <a:pt x="1851437" y="519777"/>
                  </a:lnTo>
                  <a:lnTo>
                    <a:pt x="1710134" y="462687"/>
                  </a:lnTo>
                  <a:lnTo>
                    <a:pt x="1647831" y="616892"/>
                  </a:lnTo>
                  <a:lnTo>
                    <a:pt x="1639816" y="614115"/>
                  </a:lnTo>
                  <a:cubicBezTo>
                    <a:pt x="1612945" y="606307"/>
                    <a:pt x="1585935" y="599931"/>
                    <a:pt x="1558876" y="594948"/>
                  </a:cubicBezTo>
                  <a:lnTo>
                    <a:pt x="1485900" y="588878"/>
                  </a:lnTo>
                  <a:lnTo>
                    <a:pt x="1485900" y="419100"/>
                  </a:lnTo>
                  <a:close/>
                  <a:moveTo>
                    <a:pt x="0" y="0"/>
                  </a:moveTo>
                  <a:lnTo>
                    <a:pt x="2819400" y="0"/>
                  </a:lnTo>
                  <a:lnTo>
                    <a:pt x="2819400" y="2819400"/>
                  </a:lnTo>
                  <a:lnTo>
                    <a:pt x="0" y="28194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ctr" anchorCtr="0"/>
            <a:lstStyle/>
            <a:p>
              <a:pPr algn="ctr" defTabSz="685598"/>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3723435" y="4960690"/>
              <a:ext cx="1163607" cy="389492"/>
            </a:xfrm>
            <a:prstGeom prst="rect">
              <a:avLst/>
            </a:prstGeom>
            <a:noFill/>
          </p:spPr>
          <p:txBody>
            <a:bodyPr wrap="none" rtlCol="0">
              <a:spAutoFit/>
            </a:bodyPr>
            <a:lstStyle/>
            <a:p>
              <a:pPr algn="ctr"/>
              <a:r>
                <a:rPr lang="en-US" dirty="0" smtClean="0">
                  <a:latin typeface="+mn-lt"/>
                </a:rPr>
                <a:t>Resource</a:t>
              </a:r>
              <a:endParaRPr lang="en-US" dirty="0">
                <a:latin typeface="+mn-lt"/>
              </a:endParaRPr>
            </a:p>
          </p:txBody>
        </p:sp>
      </p:grpSp>
      <p:grpSp>
        <p:nvGrpSpPr>
          <p:cNvPr id="70" name="Group 69"/>
          <p:cNvGrpSpPr/>
          <p:nvPr>
            <p:custDataLst>
              <p:custData r:id="rId5"/>
            </p:custDataLst>
          </p:nvPr>
        </p:nvGrpSpPr>
        <p:grpSpPr>
          <a:xfrm>
            <a:off x="1632862" y="3924729"/>
            <a:ext cx="1601551" cy="1475518"/>
            <a:chOff x="4734386" y="1953440"/>
            <a:chExt cx="1905893" cy="1755911"/>
          </a:xfrm>
        </p:grpSpPr>
        <p:grpSp>
          <p:nvGrpSpPr>
            <p:cNvPr id="71" name="Group 70"/>
            <p:cNvGrpSpPr/>
            <p:nvPr/>
          </p:nvGrpSpPr>
          <p:grpSpPr>
            <a:xfrm>
              <a:off x="4734386" y="1953440"/>
              <a:ext cx="1905893" cy="1755911"/>
              <a:chOff x="3583536" y="3115373"/>
              <a:chExt cx="1559387" cy="1436675"/>
            </a:xfrm>
          </p:grpSpPr>
          <p:pic>
            <p:nvPicPr>
              <p:cNvPr id="73" name="Picture 7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83536" y="3910135"/>
                <a:ext cx="1061011" cy="641913"/>
              </a:xfrm>
              <a:prstGeom prst="rect">
                <a:avLst/>
              </a:prstGeom>
            </p:spPr>
          </p:pic>
          <p:pic>
            <p:nvPicPr>
              <p:cNvPr id="74" name="Picture 7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63398" y="3911288"/>
                <a:ext cx="314989" cy="582236"/>
              </a:xfrm>
              <a:prstGeom prst="rect">
                <a:avLst/>
              </a:prstGeom>
            </p:spPr>
          </p:pic>
          <p:pic>
            <p:nvPicPr>
              <p:cNvPr id="75" name="Picture 7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98507" y="3115373"/>
                <a:ext cx="444416" cy="664409"/>
              </a:xfrm>
              <a:prstGeom prst="rect">
                <a:avLst/>
              </a:prstGeom>
            </p:spPr>
          </p:pic>
        </p:grpSp>
        <p:pic>
          <p:nvPicPr>
            <p:cNvPr id="72" name="Picture 7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14946" y="1962709"/>
              <a:ext cx="937253" cy="802915"/>
            </a:xfrm>
            <a:prstGeom prst="rect">
              <a:avLst/>
            </a:prstGeom>
          </p:spPr>
        </p:pic>
      </p:grpSp>
    </p:spTree>
    <p:extLst>
      <p:ext uri="{BB962C8B-B14F-4D97-AF65-F5344CB8AC3E}">
        <p14:creationId xmlns:p14="http://schemas.microsoft.com/office/powerpoint/2010/main" val="1694539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all you need to build great modern business app</a:t>
            </a:r>
            <a:endParaRPr lang="en-US" sz="4400" dirty="0"/>
          </a:p>
        </p:txBody>
      </p: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62624" y="4925800"/>
            <a:ext cx="1089699" cy="659268"/>
          </a:xfrm>
          <a:prstGeom prst="rect">
            <a:avLst/>
          </a:prstGeom>
        </p:spPr>
      </p:pic>
      <p:grpSp>
        <p:nvGrpSpPr>
          <p:cNvPr id="18" name="Group 17"/>
          <p:cNvGrpSpPr/>
          <p:nvPr>
            <p:custDataLst>
              <p:custData r:id="rId1"/>
            </p:custDataLst>
          </p:nvPr>
        </p:nvGrpSpPr>
        <p:grpSpPr>
          <a:xfrm>
            <a:off x="1400328" y="3647286"/>
            <a:ext cx="1004578" cy="1255014"/>
            <a:chOff x="463390" y="6616489"/>
            <a:chExt cx="1004578" cy="1255014"/>
          </a:xfrm>
        </p:grpSpPr>
        <p:sp>
          <p:nvSpPr>
            <p:cNvPr id="19" name="Freeform 18"/>
            <p:cNvSpPr/>
            <p:nvPr/>
          </p:nvSpPr>
          <p:spPr bwMode="auto">
            <a:xfrm>
              <a:off x="463390" y="6616489"/>
              <a:ext cx="1004578" cy="1004578"/>
            </a:xfrm>
            <a:custGeom>
              <a:avLst/>
              <a:gdLst>
                <a:gd name="connsiteX0" fmla="*/ 533769 w 1004578"/>
                <a:gd name="connsiteY0" fmla="*/ 537339 h 1004578"/>
                <a:gd name="connsiteX1" fmla="*/ 533769 w 1004578"/>
                <a:gd name="connsiteY1" fmla="*/ 918339 h 1004578"/>
                <a:gd name="connsiteX2" fmla="*/ 914769 w 1004578"/>
                <a:gd name="connsiteY2" fmla="*/ 918339 h 1004578"/>
                <a:gd name="connsiteX3" fmla="*/ 914769 w 1004578"/>
                <a:gd name="connsiteY3" fmla="*/ 537339 h 1004578"/>
                <a:gd name="connsiteX4" fmla="*/ 89809 w 1004578"/>
                <a:gd name="connsiteY4" fmla="*/ 537339 h 1004578"/>
                <a:gd name="connsiteX5" fmla="*/ 89809 w 1004578"/>
                <a:gd name="connsiteY5" fmla="*/ 918339 h 1004578"/>
                <a:gd name="connsiteX6" fmla="*/ 470809 w 1004578"/>
                <a:gd name="connsiteY6" fmla="*/ 918339 h 1004578"/>
                <a:gd name="connsiteX7" fmla="*/ 470809 w 1004578"/>
                <a:gd name="connsiteY7" fmla="*/ 537339 h 1004578"/>
                <a:gd name="connsiteX8" fmla="*/ 731654 w 1004578"/>
                <a:gd name="connsiteY8" fmla="*/ 284124 h 1004578"/>
                <a:gd name="connsiteX9" fmla="*/ 731654 w 1004578"/>
                <a:gd name="connsiteY9" fmla="*/ 467239 h 1004578"/>
                <a:gd name="connsiteX10" fmla="*/ 914769 w 1004578"/>
                <a:gd name="connsiteY10" fmla="*/ 467239 h 1004578"/>
                <a:gd name="connsiteX11" fmla="*/ 914769 w 1004578"/>
                <a:gd name="connsiteY11" fmla="*/ 284124 h 1004578"/>
                <a:gd name="connsiteX12" fmla="*/ 533769 w 1004578"/>
                <a:gd name="connsiteY12" fmla="*/ 284124 h 1004578"/>
                <a:gd name="connsiteX13" fmla="*/ 533769 w 1004578"/>
                <a:gd name="connsiteY13" fmla="*/ 467239 h 1004578"/>
                <a:gd name="connsiteX14" fmla="*/ 716884 w 1004578"/>
                <a:gd name="connsiteY14" fmla="*/ 467239 h 1004578"/>
                <a:gd name="connsiteX15" fmla="*/ 716884 w 1004578"/>
                <a:gd name="connsiteY15" fmla="*/ 284124 h 1004578"/>
                <a:gd name="connsiteX16" fmla="*/ 730735 w 1004578"/>
                <a:gd name="connsiteY16" fmla="*/ 86239 h 1004578"/>
                <a:gd name="connsiteX17" fmla="*/ 730735 w 1004578"/>
                <a:gd name="connsiteY17" fmla="*/ 269354 h 1004578"/>
                <a:gd name="connsiteX18" fmla="*/ 913850 w 1004578"/>
                <a:gd name="connsiteY18" fmla="*/ 269354 h 1004578"/>
                <a:gd name="connsiteX19" fmla="*/ 913850 w 1004578"/>
                <a:gd name="connsiteY19" fmla="*/ 86239 h 1004578"/>
                <a:gd name="connsiteX20" fmla="*/ 533769 w 1004578"/>
                <a:gd name="connsiteY20" fmla="*/ 86239 h 1004578"/>
                <a:gd name="connsiteX21" fmla="*/ 533769 w 1004578"/>
                <a:gd name="connsiteY21" fmla="*/ 269354 h 1004578"/>
                <a:gd name="connsiteX22" fmla="*/ 716884 w 1004578"/>
                <a:gd name="connsiteY22" fmla="*/ 269354 h 1004578"/>
                <a:gd name="connsiteX23" fmla="*/ 716884 w 1004578"/>
                <a:gd name="connsiteY23" fmla="*/ 86239 h 1004578"/>
                <a:gd name="connsiteX24" fmla="*/ 89809 w 1004578"/>
                <a:gd name="connsiteY24" fmla="*/ 86239 h 1004578"/>
                <a:gd name="connsiteX25" fmla="*/ 89809 w 1004578"/>
                <a:gd name="connsiteY25" fmla="*/ 467239 h 1004578"/>
                <a:gd name="connsiteX26" fmla="*/ 470809 w 1004578"/>
                <a:gd name="connsiteY26" fmla="*/ 467239 h 1004578"/>
                <a:gd name="connsiteX27" fmla="*/ 470809 w 1004578"/>
                <a:gd name="connsiteY27" fmla="*/ 86239 h 1004578"/>
                <a:gd name="connsiteX28" fmla="*/ 0 w 1004578"/>
                <a:gd name="connsiteY28" fmla="*/ 0 h 1004578"/>
                <a:gd name="connsiteX29" fmla="*/ 1004578 w 1004578"/>
                <a:gd name="connsiteY29" fmla="*/ 0 h 1004578"/>
                <a:gd name="connsiteX30" fmla="*/ 1004578 w 1004578"/>
                <a:gd name="connsiteY30" fmla="*/ 1004578 h 1004578"/>
                <a:gd name="connsiteX31" fmla="*/ 0 w 1004578"/>
                <a:gd name="connsiteY31" fmla="*/ 1004578 h 100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4578" h="1004578">
                  <a:moveTo>
                    <a:pt x="533769" y="537339"/>
                  </a:moveTo>
                  <a:lnTo>
                    <a:pt x="533769" y="918339"/>
                  </a:lnTo>
                  <a:lnTo>
                    <a:pt x="914769" y="918339"/>
                  </a:lnTo>
                  <a:lnTo>
                    <a:pt x="914769" y="537339"/>
                  </a:lnTo>
                  <a:close/>
                  <a:moveTo>
                    <a:pt x="89809" y="537339"/>
                  </a:moveTo>
                  <a:lnTo>
                    <a:pt x="89809" y="918339"/>
                  </a:lnTo>
                  <a:lnTo>
                    <a:pt x="470809" y="918339"/>
                  </a:lnTo>
                  <a:lnTo>
                    <a:pt x="470809" y="537339"/>
                  </a:lnTo>
                  <a:close/>
                  <a:moveTo>
                    <a:pt x="731654" y="284124"/>
                  </a:moveTo>
                  <a:lnTo>
                    <a:pt x="731654" y="467239"/>
                  </a:lnTo>
                  <a:lnTo>
                    <a:pt x="914769" y="467239"/>
                  </a:lnTo>
                  <a:lnTo>
                    <a:pt x="914769" y="284124"/>
                  </a:lnTo>
                  <a:close/>
                  <a:moveTo>
                    <a:pt x="533769" y="284124"/>
                  </a:moveTo>
                  <a:lnTo>
                    <a:pt x="533769" y="467239"/>
                  </a:lnTo>
                  <a:lnTo>
                    <a:pt x="716884" y="467239"/>
                  </a:lnTo>
                  <a:lnTo>
                    <a:pt x="716884" y="284124"/>
                  </a:lnTo>
                  <a:close/>
                  <a:moveTo>
                    <a:pt x="730735" y="86239"/>
                  </a:moveTo>
                  <a:lnTo>
                    <a:pt x="730735" y="269354"/>
                  </a:lnTo>
                  <a:lnTo>
                    <a:pt x="913850" y="269354"/>
                  </a:lnTo>
                  <a:lnTo>
                    <a:pt x="913850" y="86239"/>
                  </a:lnTo>
                  <a:close/>
                  <a:moveTo>
                    <a:pt x="533769" y="86239"/>
                  </a:moveTo>
                  <a:lnTo>
                    <a:pt x="533769" y="269354"/>
                  </a:lnTo>
                  <a:lnTo>
                    <a:pt x="716884" y="269354"/>
                  </a:lnTo>
                  <a:lnTo>
                    <a:pt x="716884" y="86239"/>
                  </a:lnTo>
                  <a:close/>
                  <a:moveTo>
                    <a:pt x="89809" y="86239"/>
                  </a:moveTo>
                  <a:lnTo>
                    <a:pt x="89809" y="467239"/>
                  </a:lnTo>
                  <a:lnTo>
                    <a:pt x="470809" y="467239"/>
                  </a:lnTo>
                  <a:lnTo>
                    <a:pt x="470809" y="86239"/>
                  </a:lnTo>
                  <a:close/>
                  <a:moveTo>
                    <a:pt x="0" y="0"/>
                  </a:moveTo>
                  <a:lnTo>
                    <a:pt x="1004578" y="0"/>
                  </a:lnTo>
                  <a:lnTo>
                    <a:pt x="1004578" y="1004578"/>
                  </a:lnTo>
                  <a:lnTo>
                    <a:pt x="0" y="1004578"/>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20" name="TextBox 19"/>
            <p:cNvSpPr txBox="1"/>
            <p:nvPr/>
          </p:nvSpPr>
          <p:spPr>
            <a:xfrm>
              <a:off x="662551" y="7502171"/>
              <a:ext cx="606256" cy="369332"/>
            </a:xfrm>
            <a:prstGeom prst="rect">
              <a:avLst/>
            </a:prstGeom>
            <a:noFill/>
          </p:spPr>
          <p:txBody>
            <a:bodyPr wrap="none" rtlCol="0">
              <a:spAutoFit/>
            </a:bodyPr>
            <a:lstStyle/>
            <a:p>
              <a:pPr algn="ctr"/>
              <a:r>
                <a:rPr lang="en-US" dirty="0" smtClean="0">
                  <a:latin typeface="+mn-lt"/>
                </a:rPr>
                <a:t>App</a:t>
              </a:r>
              <a:endParaRPr lang="en-US" dirty="0">
                <a:latin typeface="+mn-lt"/>
              </a:endParaRPr>
            </a:p>
          </p:txBody>
        </p:sp>
      </p:grpSp>
      <p:grpSp>
        <p:nvGrpSpPr>
          <p:cNvPr id="21" name="Group 20"/>
          <p:cNvGrpSpPr/>
          <p:nvPr>
            <p:custDataLst>
              <p:custData r:id="rId2"/>
            </p:custDataLst>
          </p:nvPr>
        </p:nvGrpSpPr>
        <p:grpSpPr>
          <a:xfrm>
            <a:off x="10579192" y="2237846"/>
            <a:ext cx="1103379" cy="1373910"/>
            <a:chOff x="3723435" y="3901278"/>
            <a:chExt cx="1163607" cy="1448904"/>
          </a:xfrm>
        </p:grpSpPr>
        <p:sp>
          <p:nvSpPr>
            <p:cNvPr id="22" name="Freeform 21"/>
            <p:cNvSpPr/>
            <p:nvPr/>
          </p:nvSpPr>
          <p:spPr bwMode="auto">
            <a:xfrm>
              <a:off x="3783341" y="3901278"/>
              <a:ext cx="1043784" cy="1043784"/>
            </a:xfrm>
            <a:custGeom>
              <a:avLst/>
              <a:gdLst>
                <a:gd name="connsiteX0" fmla="*/ 1409700 w 2819400"/>
                <a:gd name="connsiteY0" fmla="*/ 952500 h 2819400"/>
                <a:gd name="connsiteX1" fmla="*/ 1866900 w 2819400"/>
                <a:gd name="connsiteY1" fmla="*/ 1409700 h 2819400"/>
                <a:gd name="connsiteX2" fmla="*/ 1409700 w 2819400"/>
                <a:gd name="connsiteY2" fmla="*/ 1866900 h 2819400"/>
                <a:gd name="connsiteX3" fmla="*/ 952500 w 2819400"/>
                <a:gd name="connsiteY3" fmla="*/ 1409700 h 2819400"/>
                <a:gd name="connsiteX4" fmla="*/ 1409700 w 2819400"/>
                <a:gd name="connsiteY4" fmla="*/ 952500 h 2819400"/>
                <a:gd name="connsiteX5" fmla="*/ 1333500 w 2819400"/>
                <a:gd name="connsiteY5" fmla="*/ 419100 h 2819400"/>
                <a:gd name="connsiteX6" fmla="*/ 1333500 w 2819400"/>
                <a:gd name="connsiteY6" fmla="*/ 588645 h 2819400"/>
                <a:gd name="connsiteX7" fmla="*/ 1237641 w 2819400"/>
                <a:gd name="connsiteY7" fmla="*/ 599554 h 2819400"/>
                <a:gd name="connsiteX8" fmla="*/ 1159408 w 2819400"/>
                <a:gd name="connsiteY8" fmla="*/ 625030 h 2819400"/>
                <a:gd name="connsiteX9" fmla="*/ 1092784 w 2819400"/>
                <a:gd name="connsiteY9" fmla="*/ 468074 h 2819400"/>
                <a:gd name="connsiteX10" fmla="*/ 952499 w 2819400"/>
                <a:gd name="connsiteY10" fmla="*/ 527622 h 2819400"/>
                <a:gd name="connsiteX11" fmla="*/ 1017714 w 2819400"/>
                <a:gd name="connsiteY11" fmla="*/ 681258 h 2819400"/>
                <a:gd name="connsiteX12" fmla="*/ 995010 w 2819400"/>
                <a:gd name="connsiteY12" fmla="*/ 692834 h 2819400"/>
                <a:gd name="connsiteX13" fmla="*/ 904432 w 2819400"/>
                <a:gd name="connsiteY13" fmla="*/ 753403 h 2819400"/>
                <a:gd name="connsiteX14" fmla="*/ 870603 w 2819400"/>
                <a:gd name="connsiteY14" fmla="*/ 783170 h 2819400"/>
                <a:gd name="connsiteX15" fmla="*/ 750055 w 2819400"/>
                <a:gd name="connsiteY15" fmla="*/ 666758 h 2819400"/>
                <a:gd name="connsiteX16" fmla="*/ 644189 w 2819400"/>
                <a:gd name="connsiteY16" fmla="*/ 776385 h 2819400"/>
                <a:gd name="connsiteX17" fmla="*/ 764315 w 2819400"/>
                <a:gd name="connsiteY17" fmla="*/ 892389 h 2819400"/>
                <a:gd name="connsiteX18" fmla="*/ 749317 w 2819400"/>
                <a:gd name="connsiteY18" fmla="*/ 909661 h 2819400"/>
                <a:gd name="connsiteX19" fmla="*/ 687550 w 2819400"/>
                <a:gd name="connsiteY19" fmla="*/ 1004175 h 2819400"/>
                <a:gd name="connsiteX20" fmla="*/ 674871 w 2819400"/>
                <a:gd name="connsiteY20" fmla="*/ 1030626 h 2819400"/>
                <a:gd name="connsiteX21" fmla="*/ 519777 w 2819400"/>
                <a:gd name="connsiteY21" fmla="*/ 967963 h 2819400"/>
                <a:gd name="connsiteX22" fmla="*/ 462687 w 2819400"/>
                <a:gd name="connsiteY22" fmla="*/ 1109266 h 2819400"/>
                <a:gd name="connsiteX23" fmla="*/ 616892 w 2819400"/>
                <a:gd name="connsiteY23" fmla="*/ 1171569 h 2819400"/>
                <a:gd name="connsiteX24" fmla="*/ 614115 w 2819400"/>
                <a:gd name="connsiteY24" fmla="*/ 1179584 h 2819400"/>
                <a:gd name="connsiteX25" fmla="*/ 590611 w 2819400"/>
                <a:gd name="connsiteY25" fmla="*/ 1286378 h 2819400"/>
                <a:gd name="connsiteX26" fmla="*/ 586601 w 2819400"/>
                <a:gd name="connsiteY26" fmla="*/ 1333500 h 2819400"/>
                <a:gd name="connsiteX27" fmla="*/ 419100 w 2819400"/>
                <a:gd name="connsiteY27" fmla="*/ 1333500 h 2819400"/>
                <a:gd name="connsiteX28" fmla="*/ 419100 w 2819400"/>
                <a:gd name="connsiteY28" fmla="*/ 1485900 h 2819400"/>
                <a:gd name="connsiteX29" fmla="*/ 585667 w 2819400"/>
                <a:gd name="connsiteY29" fmla="*/ 1485900 h 2819400"/>
                <a:gd name="connsiteX30" fmla="*/ 586271 w 2819400"/>
                <a:gd name="connsiteY30" fmla="*/ 1499335 h 2819400"/>
                <a:gd name="connsiteX31" fmla="*/ 604381 w 2819400"/>
                <a:gd name="connsiteY31" fmla="*/ 1603015 h 2819400"/>
                <a:gd name="connsiteX32" fmla="*/ 623507 w 2819400"/>
                <a:gd name="connsiteY32" fmla="*/ 1660639 h 2819400"/>
                <a:gd name="connsiteX33" fmla="*/ 468074 w 2819400"/>
                <a:gd name="connsiteY33" fmla="*/ 1726616 h 2819400"/>
                <a:gd name="connsiteX34" fmla="*/ 527622 w 2819400"/>
                <a:gd name="connsiteY34" fmla="*/ 1866901 h 2819400"/>
                <a:gd name="connsiteX35" fmla="*/ 683091 w 2819400"/>
                <a:gd name="connsiteY35" fmla="*/ 1800908 h 2819400"/>
                <a:gd name="connsiteX36" fmla="*/ 713905 w 2819400"/>
                <a:gd name="connsiteY36" fmla="*/ 1858905 h 2819400"/>
                <a:gd name="connsiteX37" fmla="*/ 776434 w 2819400"/>
                <a:gd name="connsiteY37" fmla="*/ 1943602 h 2819400"/>
                <a:gd name="connsiteX38" fmla="*/ 782287 w 2819400"/>
                <a:gd name="connsiteY38" fmla="*/ 1949711 h 2819400"/>
                <a:gd name="connsiteX39" fmla="*/ 666758 w 2819400"/>
                <a:gd name="connsiteY39" fmla="*/ 2069345 h 2819400"/>
                <a:gd name="connsiteX40" fmla="*/ 776385 w 2819400"/>
                <a:gd name="connsiteY40" fmla="*/ 2175211 h 2819400"/>
                <a:gd name="connsiteX41" fmla="*/ 892759 w 2819400"/>
                <a:gd name="connsiteY41" fmla="*/ 2054702 h 2819400"/>
                <a:gd name="connsiteX42" fmla="*/ 933621 w 2819400"/>
                <a:gd name="connsiteY42" fmla="*/ 2087532 h 2819400"/>
                <a:gd name="connsiteX43" fmla="*/ 1027223 w 2819400"/>
                <a:gd name="connsiteY43" fmla="*/ 2144281 h 2819400"/>
                <a:gd name="connsiteX44" fmla="*/ 1030176 w 2819400"/>
                <a:gd name="connsiteY44" fmla="*/ 2145640 h 2819400"/>
                <a:gd name="connsiteX45" fmla="*/ 967963 w 2819400"/>
                <a:gd name="connsiteY45" fmla="*/ 2299623 h 2819400"/>
                <a:gd name="connsiteX46" fmla="*/ 1109266 w 2819400"/>
                <a:gd name="connsiteY46" fmla="*/ 2356713 h 2819400"/>
                <a:gd name="connsiteX47" fmla="*/ 1171569 w 2819400"/>
                <a:gd name="connsiteY47" fmla="*/ 2202508 h 2819400"/>
                <a:gd name="connsiteX48" fmla="*/ 1179584 w 2819400"/>
                <a:gd name="connsiteY48" fmla="*/ 2205285 h 2819400"/>
                <a:gd name="connsiteX49" fmla="*/ 1260524 w 2819400"/>
                <a:gd name="connsiteY49" fmla="*/ 2224452 h 2819400"/>
                <a:gd name="connsiteX50" fmla="*/ 1333500 w 2819400"/>
                <a:gd name="connsiteY50" fmla="*/ 2230522 h 2819400"/>
                <a:gd name="connsiteX51" fmla="*/ 1333500 w 2819400"/>
                <a:gd name="connsiteY51" fmla="*/ 2400300 h 2819400"/>
                <a:gd name="connsiteX52" fmla="*/ 1485900 w 2819400"/>
                <a:gd name="connsiteY52" fmla="*/ 2400300 h 2819400"/>
                <a:gd name="connsiteX53" fmla="*/ 1485900 w 2819400"/>
                <a:gd name="connsiteY53" fmla="*/ 2230755 h 2819400"/>
                <a:gd name="connsiteX54" fmla="*/ 1581759 w 2819400"/>
                <a:gd name="connsiteY54" fmla="*/ 2219846 h 2819400"/>
                <a:gd name="connsiteX55" fmla="*/ 1659992 w 2819400"/>
                <a:gd name="connsiteY55" fmla="*/ 2194370 h 2819400"/>
                <a:gd name="connsiteX56" fmla="*/ 1726616 w 2819400"/>
                <a:gd name="connsiteY56" fmla="*/ 2351326 h 2819400"/>
                <a:gd name="connsiteX57" fmla="*/ 1866901 w 2819400"/>
                <a:gd name="connsiteY57" fmla="*/ 2291779 h 2819400"/>
                <a:gd name="connsiteX58" fmla="*/ 1801686 w 2819400"/>
                <a:gd name="connsiteY58" fmla="*/ 2138142 h 2819400"/>
                <a:gd name="connsiteX59" fmla="*/ 1824391 w 2819400"/>
                <a:gd name="connsiteY59" fmla="*/ 2126566 h 2819400"/>
                <a:gd name="connsiteX60" fmla="*/ 1914968 w 2819400"/>
                <a:gd name="connsiteY60" fmla="*/ 2065997 h 2819400"/>
                <a:gd name="connsiteX61" fmla="*/ 1948797 w 2819400"/>
                <a:gd name="connsiteY61" fmla="*/ 2036230 h 2819400"/>
                <a:gd name="connsiteX62" fmla="*/ 2069345 w 2819400"/>
                <a:gd name="connsiteY62" fmla="*/ 2152642 h 2819400"/>
                <a:gd name="connsiteX63" fmla="*/ 2175211 w 2819400"/>
                <a:gd name="connsiteY63" fmla="*/ 2043015 h 2819400"/>
                <a:gd name="connsiteX64" fmla="*/ 2055085 w 2819400"/>
                <a:gd name="connsiteY64" fmla="*/ 1927011 h 2819400"/>
                <a:gd name="connsiteX65" fmla="*/ 2070083 w 2819400"/>
                <a:gd name="connsiteY65" fmla="*/ 1909739 h 2819400"/>
                <a:gd name="connsiteX66" fmla="*/ 2131851 w 2819400"/>
                <a:gd name="connsiteY66" fmla="*/ 1815225 h 2819400"/>
                <a:gd name="connsiteX67" fmla="*/ 2144529 w 2819400"/>
                <a:gd name="connsiteY67" fmla="*/ 1788775 h 2819400"/>
                <a:gd name="connsiteX68" fmla="*/ 2299623 w 2819400"/>
                <a:gd name="connsiteY68" fmla="*/ 1851437 h 2819400"/>
                <a:gd name="connsiteX69" fmla="*/ 2356713 w 2819400"/>
                <a:gd name="connsiteY69" fmla="*/ 1710134 h 2819400"/>
                <a:gd name="connsiteX70" fmla="*/ 2202508 w 2819400"/>
                <a:gd name="connsiteY70" fmla="*/ 1647831 h 2819400"/>
                <a:gd name="connsiteX71" fmla="*/ 2205285 w 2819400"/>
                <a:gd name="connsiteY71" fmla="*/ 1639816 h 2819400"/>
                <a:gd name="connsiteX72" fmla="*/ 2228789 w 2819400"/>
                <a:gd name="connsiteY72" fmla="*/ 1533022 h 2819400"/>
                <a:gd name="connsiteX73" fmla="*/ 2232799 w 2819400"/>
                <a:gd name="connsiteY73" fmla="*/ 1485900 h 2819400"/>
                <a:gd name="connsiteX74" fmla="*/ 2400300 w 2819400"/>
                <a:gd name="connsiteY74" fmla="*/ 1485900 h 2819400"/>
                <a:gd name="connsiteX75" fmla="*/ 2400300 w 2819400"/>
                <a:gd name="connsiteY75" fmla="*/ 1333500 h 2819400"/>
                <a:gd name="connsiteX76" fmla="*/ 2233733 w 2819400"/>
                <a:gd name="connsiteY76" fmla="*/ 1333500 h 2819400"/>
                <a:gd name="connsiteX77" fmla="*/ 2233129 w 2819400"/>
                <a:gd name="connsiteY77" fmla="*/ 1320065 h 2819400"/>
                <a:gd name="connsiteX78" fmla="*/ 2215019 w 2819400"/>
                <a:gd name="connsiteY78" fmla="*/ 1216385 h 2819400"/>
                <a:gd name="connsiteX79" fmla="*/ 2195893 w 2819400"/>
                <a:gd name="connsiteY79" fmla="*/ 1158761 h 2819400"/>
                <a:gd name="connsiteX80" fmla="*/ 2351326 w 2819400"/>
                <a:gd name="connsiteY80" fmla="*/ 1092784 h 2819400"/>
                <a:gd name="connsiteX81" fmla="*/ 2291778 w 2819400"/>
                <a:gd name="connsiteY81" fmla="*/ 952499 h 2819400"/>
                <a:gd name="connsiteX82" fmla="*/ 2136309 w 2819400"/>
                <a:gd name="connsiteY82" fmla="*/ 1018492 h 2819400"/>
                <a:gd name="connsiteX83" fmla="*/ 2105495 w 2819400"/>
                <a:gd name="connsiteY83" fmla="*/ 960495 h 2819400"/>
                <a:gd name="connsiteX84" fmla="*/ 2042966 w 2819400"/>
                <a:gd name="connsiteY84" fmla="*/ 875798 h 2819400"/>
                <a:gd name="connsiteX85" fmla="*/ 2037113 w 2819400"/>
                <a:gd name="connsiteY85" fmla="*/ 869689 h 2819400"/>
                <a:gd name="connsiteX86" fmla="*/ 2152642 w 2819400"/>
                <a:gd name="connsiteY86" fmla="*/ 750055 h 2819400"/>
                <a:gd name="connsiteX87" fmla="*/ 2043015 w 2819400"/>
                <a:gd name="connsiteY87" fmla="*/ 644189 h 2819400"/>
                <a:gd name="connsiteX88" fmla="*/ 1926641 w 2819400"/>
                <a:gd name="connsiteY88" fmla="*/ 764698 h 2819400"/>
                <a:gd name="connsiteX89" fmla="*/ 1885779 w 2819400"/>
                <a:gd name="connsiteY89" fmla="*/ 731868 h 2819400"/>
                <a:gd name="connsiteX90" fmla="*/ 1792177 w 2819400"/>
                <a:gd name="connsiteY90" fmla="*/ 675118 h 2819400"/>
                <a:gd name="connsiteX91" fmla="*/ 1789224 w 2819400"/>
                <a:gd name="connsiteY91" fmla="*/ 673760 h 2819400"/>
                <a:gd name="connsiteX92" fmla="*/ 1851437 w 2819400"/>
                <a:gd name="connsiteY92" fmla="*/ 519777 h 2819400"/>
                <a:gd name="connsiteX93" fmla="*/ 1710134 w 2819400"/>
                <a:gd name="connsiteY93" fmla="*/ 462687 h 2819400"/>
                <a:gd name="connsiteX94" fmla="*/ 1647831 w 2819400"/>
                <a:gd name="connsiteY94" fmla="*/ 616892 h 2819400"/>
                <a:gd name="connsiteX95" fmla="*/ 1639816 w 2819400"/>
                <a:gd name="connsiteY95" fmla="*/ 614115 h 2819400"/>
                <a:gd name="connsiteX96" fmla="*/ 1558876 w 2819400"/>
                <a:gd name="connsiteY96" fmla="*/ 594948 h 2819400"/>
                <a:gd name="connsiteX97" fmla="*/ 1485900 w 2819400"/>
                <a:gd name="connsiteY97" fmla="*/ 588878 h 2819400"/>
                <a:gd name="connsiteX98" fmla="*/ 1485900 w 2819400"/>
                <a:gd name="connsiteY98" fmla="*/ 419100 h 2819400"/>
                <a:gd name="connsiteX99" fmla="*/ 0 w 2819400"/>
                <a:gd name="connsiteY99" fmla="*/ 0 h 2819400"/>
                <a:gd name="connsiteX100" fmla="*/ 2819400 w 2819400"/>
                <a:gd name="connsiteY100" fmla="*/ 0 h 2819400"/>
                <a:gd name="connsiteX101" fmla="*/ 2819400 w 2819400"/>
                <a:gd name="connsiteY101" fmla="*/ 2819400 h 2819400"/>
                <a:gd name="connsiteX102" fmla="*/ 0 w 2819400"/>
                <a:gd name="connsiteY102" fmla="*/ 2819400 h 28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819400" h="2819400">
                  <a:moveTo>
                    <a:pt x="1409700" y="952500"/>
                  </a:moveTo>
                  <a:cubicBezTo>
                    <a:pt x="1662205" y="952500"/>
                    <a:pt x="1866900" y="1157195"/>
                    <a:pt x="1866900" y="1409700"/>
                  </a:cubicBezTo>
                  <a:cubicBezTo>
                    <a:pt x="1866900" y="1662205"/>
                    <a:pt x="1662205" y="1866900"/>
                    <a:pt x="1409700" y="1866900"/>
                  </a:cubicBezTo>
                  <a:cubicBezTo>
                    <a:pt x="1157195" y="1866900"/>
                    <a:pt x="952500" y="1662205"/>
                    <a:pt x="952500" y="1409700"/>
                  </a:cubicBezTo>
                  <a:cubicBezTo>
                    <a:pt x="952500" y="1157195"/>
                    <a:pt x="1157195" y="952500"/>
                    <a:pt x="1409700" y="952500"/>
                  </a:cubicBezTo>
                  <a:close/>
                  <a:moveTo>
                    <a:pt x="1333500" y="419100"/>
                  </a:moveTo>
                  <a:lnTo>
                    <a:pt x="1333500" y="588645"/>
                  </a:lnTo>
                  <a:lnTo>
                    <a:pt x="1237641" y="599554"/>
                  </a:lnTo>
                  <a:lnTo>
                    <a:pt x="1159408" y="625030"/>
                  </a:lnTo>
                  <a:lnTo>
                    <a:pt x="1092784" y="468074"/>
                  </a:lnTo>
                  <a:lnTo>
                    <a:pt x="952499" y="527622"/>
                  </a:lnTo>
                  <a:lnTo>
                    <a:pt x="1017714" y="681258"/>
                  </a:lnTo>
                  <a:lnTo>
                    <a:pt x="995010" y="692834"/>
                  </a:lnTo>
                  <a:cubicBezTo>
                    <a:pt x="963601" y="710974"/>
                    <a:pt x="933332" y="731197"/>
                    <a:pt x="904432" y="753403"/>
                  </a:cubicBezTo>
                  <a:lnTo>
                    <a:pt x="870603" y="783170"/>
                  </a:lnTo>
                  <a:lnTo>
                    <a:pt x="750055" y="666758"/>
                  </a:lnTo>
                  <a:lnTo>
                    <a:pt x="644189" y="776385"/>
                  </a:lnTo>
                  <a:lnTo>
                    <a:pt x="764315" y="892389"/>
                  </a:lnTo>
                  <a:lnTo>
                    <a:pt x="749317" y="909661"/>
                  </a:lnTo>
                  <a:cubicBezTo>
                    <a:pt x="726820" y="939410"/>
                    <a:pt x="706153" y="970948"/>
                    <a:pt x="687550" y="1004175"/>
                  </a:cubicBezTo>
                  <a:lnTo>
                    <a:pt x="674871" y="1030626"/>
                  </a:lnTo>
                  <a:lnTo>
                    <a:pt x="519777" y="967963"/>
                  </a:lnTo>
                  <a:lnTo>
                    <a:pt x="462687" y="1109266"/>
                  </a:lnTo>
                  <a:lnTo>
                    <a:pt x="616892" y="1171569"/>
                  </a:lnTo>
                  <a:lnTo>
                    <a:pt x="614115" y="1179584"/>
                  </a:lnTo>
                  <a:cubicBezTo>
                    <a:pt x="603822" y="1215010"/>
                    <a:pt x="596017" y="1250677"/>
                    <a:pt x="590611" y="1286378"/>
                  </a:cubicBezTo>
                  <a:lnTo>
                    <a:pt x="586601" y="1333500"/>
                  </a:lnTo>
                  <a:lnTo>
                    <a:pt x="419100" y="1333500"/>
                  </a:lnTo>
                  <a:lnTo>
                    <a:pt x="419100" y="1485900"/>
                  </a:lnTo>
                  <a:lnTo>
                    <a:pt x="585667" y="1485900"/>
                  </a:lnTo>
                  <a:lnTo>
                    <a:pt x="586271" y="1499335"/>
                  </a:lnTo>
                  <a:cubicBezTo>
                    <a:pt x="590113" y="1534344"/>
                    <a:pt x="596179" y="1568973"/>
                    <a:pt x="604381" y="1603015"/>
                  </a:cubicBezTo>
                  <a:lnTo>
                    <a:pt x="623507" y="1660639"/>
                  </a:lnTo>
                  <a:lnTo>
                    <a:pt x="468074" y="1726616"/>
                  </a:lnTo>
                  <a:lnTo>
                    <a:pt x="527622" y="1866901"/>
                  </a:lnTo>
                  <a:lnTo>
                    <a:pt x="683091" y="1800908"/>
                  </a:lnTo>
                  <a:lnTo>
                    <a:pt x="713905" y="1858905"/>
                  </a:lnTo>
                  <a:cubicBezTo>
                    <a:pt x="732875" y="1888345"/>
                    <a:pt x="753748" y="1916647"/>
                    <a:pt x="776434" y="1943602"/>
                  </a:cubicBezTo>
                  <a:lnTo>
                    <a:pt x="782287" y="1949711"/>
                  </a:lnTo>
                  <a:lnTo>
                    <a:pt x="666758" y="2069345"/>
                  </a:lnTo>
                  <a:lnTo>
                    <a:pt x="776385" y="2175211"/>
                  </a:lnTo>
                  <a:lnTo>
                    <a:pt x="892759" y="2054702"/>
                  </a:lnTo>
                  <a:lnTo>
                    <a:pt x="933621" y="2087532"/>
                  </a:lnTo>
                  <a:cubicBezTo>
                    <a:pt x="963213" y="2108277"/>
                    <a:pt x="994443" y="2127263"/>
                    <a:pt x="1027223" y="2144281"/>
                  </a:cubicBezTo>
                  <a:lnTo>
                    <a:pt x="1030176" y="2145640"/>
                  </a:lnTo>
                  <a:lnTo>
                    <a:pt x="967963" y="2299623"/>
                  </a:lnTo>
                  <a:lnTo>
                    <a:pt x="1109266" y="2356713"/>
                  </a:lnTo>
                  <a:lnTo>
                    <a:pt x="1171569" y="2202508"/>
                  </a:lnTo>
                  <a:lnTo>
                    <a:pt x="1179584" y="2205285"/>
                  </a:lnTo>
                  <a:cubicBezTo>
                    <a:pt x="1206456" y="2213093"/>
                    <a:pt x="1233465" y="2219469"/>
                    <a:pt x="1260524" y="2224452"/>
                  </a:cubicBezTo>
                  <a:lnTo>
                    <a:pt x="1333500" y="2230522"/>
                  </a:lnTo>
                  <a:lnTo>
                    <a:pt x="1333500" y="2400300"/>
                  </a:lnTo>
                  <a:lnTo>
                    <a:pt x="1485900" y="2400300"/>
                  </a:lnTo>
                  <a:lnTo>
                    <a:pt x="1485900" y="2230755"/>
                  </a:lnTo>
                  <a:lnTo>
                    <a:pt x="1581759" y="2219846"/>
                  </a:lnTo>
                  <a:lnTo>
                    <a:pt x="1659992" y="2194370"/>
                  </a:lnTo>
                  <a:lnTo>
                    <a:pt x="1726616" y="2351326"/>
                  </a:lnTo>
                  <a:lnTo>
                    <a:pt x="1866901" y="2291779"/>
                  </a:lnTo>
                  <a:lnTo>
                    <a:pt x="1801686" y="2138142"/>
                  </a:lnTo>
                  <a:lnTo>
                    <a:pt x="1824391" y="2126566"/>
                  </a:lnTo>
                  <a:cubicBezTo>
                    <a:pt x="1855799" y="2108425"/>
                    <a:pt x="1886069" y="2088203"/>
                    <a:pt x="1914968" y="2065997"/>
                  </a:cubicBezTo>
                  <a:lnTo>
                    <a:pt x="1948797" y="2036230"/>
                  </a:lnTo>
                  <a:lnTo>
                    <a:pt x="2069345" y="2152642"/>
                  </a:lnTo>
                  <a:lnTo>
                    <a:pt x="2175211" y="2043015"/>
                  </a:lnTo>
                  <a:lnTo>
                    <a:pt x="2055085" y="1927011"/>
                  </a:lnTo>
                  <a:lnTo>
                    <a:pt x="2070083" y="1909739"/>
                  </a:lnTo>
                  <a:cubicBezTo>
                    <a:pt x="2092580" y="1879990"/>
                    <a:pt x="2113247" y="1848452"/>
                    <a:pt x="2131851" y="1815225"/>
                  </a:cubicBezTo>
                  <a:lnTo>
                    <a:pt x="2144529" y="1788775"/>
                  </a:lnTo>
                  <a:lnTo>
                    <a:pt x="2299623" y="1851437"/>
                  </a:lnTo>
                  <a:lnTo>
                    <a:pt x="2356713" y="1710134"/>
                  </a:lnTo>
                  <a:lnTo>
                    <a:pt x="2202508" y="1647831"/>
                  </a:lnTo>
                  <a:lnTo>
                    <a:pt x="2205285" y="1639816"/>
                  </a:lnTo>
                  <a:cubicBezTo>
                    <a:pt x="2215578" y="1604389"/>
                    <a:pt x="2223384" y="1568723"/>
                    <a:pt x="2228789" y="1533022"/>
                  </a:cubicBezTo>
                  <a:lnTo>
                    <a:pt x="2232799" y="1485900"/>
                  </a:lnTo>
                  <a:lnTo>
                    <a:pt x="2400300" y="1485900"/>
                  </a:lnTo>
                  <a:lnTo>
                    <a:pt x="2400300" y="1333500"/>
                  </a:lnTo>
                  <a:lnTo>
                    <a:pt x="2233733" y="1333500"/>
                  </a:lnTo>
                  <a:lnTo>
                    <a:pt x="2233129" y="1320065"/>
                  </a:lnTo>
                  <a:cubicBezTo>
                    <a:pt x="2229287" y="1285056"/>
                    <a:pt x="2223221" y="1250427"/>
                    <a:pt x="2215019" y="1216385"/>
                  </a:cubicBezTo>
                  <a:lnTo>
                    <a:pt x="2195893" y="1158761"/>
                  </a:lnTo>
                  <a:lnTo>
                    <a:pt x="2351326" y="1092784"/>
                  </a:lnTo>
                  <a:lnTo>
                    <a:pt x="2291778" y="952499"/>
                  </a:lnTo>
                  <a:lnTo>
                    <a:pt x="2136309" y="1018492"/>
                  </a:lnTo>
                  <a:lnTo>
                    <a:pt x="2105495" y="960495"/>
                  </a:lnTo>
                  <a:cubicBezTo>
                    <a:pt x="2086525" y="931054"/>
                    <a:pt x="2065652" y="902753"/>
                    <a:pt x="2042966" y="875798"/>
                  </a:cubicBezTo>
                  <a:lnTo>
                    <a:pt x="2037113" y="869689"/>
                  </a:lnTo>
                  <a:lnTo>
                    <a:pt x="2152642" y="750055"/>
                  </a:lnTo>
                  <a:lnTo>
                    <a:pt x="2043015" y="644189"/>
                  </a:lnTo>
                  <a:lnTo>
                    <a:pt x="1926641" y="764698"/>
                  </a:lnTo>
                  <a:lnTo>
                    <a:pt x="1885779" y="731868"/>
                  </a:lnTo>
                  <a:cubicBezTo>
                    <a:pt x="1856188" y="711122"/>
                    <a:pt x="1824957" y="692137"/>
                    <a:pt x="1792177" y="675118"/>
                  </a:cubicBezTo>
                  <a:lnTo>
                    <a:pt x="1789224" y="673760"/>
                  </a:lnTo>
                  <a:lnTo>
                    <a:pt x="1851437" y="519777"/>
                  </a:lnTo>
                  <a:lnTo>
                    <a:pt x="1710134" y="462687"/>
                  </a:lnTo>
                  <a:lnTo>
                    <a:pt x="1647831" y="616892"/>
                  </a:lnTo>
                  <a:lnTo>
                    <a:pt x="1639816" y="614115"/>
                  </a:lnTo>
                  <a:cubicBezTo>
                    <a:pt x="1612945" y="606307"/>
                    <a:pt x="1585935" y="599931"/>
                    <a:pt x="1558876" y="594948"/>
                  </a:cubicBezTo>
                  <a:lnTo>
                    <a:pt x="1485900" y="588878"/>
                  </a:lnTo>
                  <a:lnTo>
                    <a:pt x="1485900" y="419100"/>
                  </a:lnTo>
                  <a:close/>
                  <a:moveTo>
                    <a:pt x="0" y="0"/>
                  </a:moveTo>
                  <a:lnTo>
                    <a:pt x="2819400" y="0"/>
                  </a:lnTo>
                  <a:lnTo>
                    <a:pt x="2819400" y="2819400"/>
                  </a:lnTo>
                  <a:lnTo>
                    <a:pt x="0" y="28194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ctr" anchorCtr="0"/>
            <a:lstStyle/>
            <a:p>
              <a:pPr algn="ctr" defTabSz="685598"/>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3723435" y="4960690"/>
              <a:ext cx="1163607" cy="389492"/>
            </a:xfrm>
            <a:prstGeom prst="rect">
              <a:avLst/>
            </a:prstGeom>
            <a:noFill/>
          </p:spPr>
          <p:txBody>
            <a:bodyPr wrap="none" rtlCol="0">
              <a:spAutoFit/>
            </a:bodyPr>
            <a:lstStyle/>
            <a:p>
              <a:pPr algn="ctr"/>
              <a:r>
                <a:rPr lang="en-US" dirty="0" smtClean="0">
                  <a:latin typeface="+mn-lt"/>
                </a:rPr>
                <a:t>Resource</a:t>
              </a:r>
              <a:endParaRPr lang="en-US" dirty="0">
                <a:latin typeface="+mn-lt"/>
              </a:endParaRPr>
            </a:p>
          </p:txBody>
        </p:sp>
      </p:grpSp>
      <p:grpSp>
        <p:nvGrpSpPr>
          <p:cNvPr id="54" name="Group 53"/>
          <p:cNvGrpSpPr/>
          <p:nvPr>
            <p:custDataLst>
              <p:custData r:id="rId3"/>
            </p:custDataLst>
          </p:nvPr>
        </p:nvGrpSpPr>
        <p:grpSpPr>
          <a:xfrm>
            <a:off x="1710579" y="4731300"/>
            <a:ext cx="2442912" cy="1592992"/>
            <a:chOff x="1516204" y="4912801"/>
            <a:chExt cx="2442912" cy="1592992"/>
          </a:xfrm>
        </p:grpSpPr>
        <p:sp>
          <p:nvSpPr>
            <p:cNvPr id="55" name="Freeform 54"/>
            <p:cNvSpPr/>
            <p:nvPr/>
          </p:nvSpPr>
          <p:spPr bwMode="auto">
            <a:xfrm>
              <a:off x="2235371" y="4912801"/>
              <a:ext cx="1004578" cy="1004578"/>
            </a:xfrm>
            <a:custGeom>
              <a:avLst/>
              <a:gdLst>
                <a:gd name="connsiteX0" fmla="*/ 774857 w 1004578"/>
                <a:gd name="connsiteY0" fmla="*/ 686696 h 1004578"/>
                <a:gd name="connsiteX1" fmla="*/ 665836 w 1004578"/>
                <a:gd name="connsiteY1" fmla="*/ 766014 h 1004578"/>
                <a:gd name="connsiteX2" fmla="*/ 707478 w 1004578"/>
                <a:gd name="connsiteY2" fmla="*/ 894354 h 1004578"/>
                <a:gd name="connsiteX3" fmla="*/ 842236 w 1004578"/>
                <a:gd name="connsiteY3" fmla="*/ 894354 h 1004578"/>
                <a:gd name="connsiteX4" fmla="*/ 883878 w 1004578"/>
                <a:gd name="connsiteY4" fmla="*/ 766014 h 1004578"/>
                <a:gd name="connsiteX5" fmla="*/ 249051 w 1004578"/>
                <a:gd name="connsiteY5" fmla="*/ 686696 h 1004578"/>
                <a:gd name="connsiteX6" fmla="*/ 140030 w 1004578"/>
                <a:gd name="connsiteY6" fmla="*/ 766014 h 1004578"/>
                <a:gd name="connsiteX7" fmla="*/ 181672 w 1004578"/>
                <a:gd name="connsiteY7" fmla="*/ 894354 h 1004578"/>
                <a:gd name="connsiteX8" fmla="*/ 316430 w 1004578"/>
                <a:gd name="connsiteY8" fmla="*/ 894354 h 1004578"/>
                <a:gd name="connsiteX9" fmla="*/ 358072 w 1004578"/>
                <a:gd name="connsiteY9" fmla="*/ 766014 h 1004578"/>
                <a:gd name="connsiteX10" fmla="*/ 511954 w 1004578"/>
                <a:gd name="connsiteY10" fmla="*/ 686695 h 1004578"/>
                <a:gd name="connsiteX11" fmla="*/ 402933 w 1004578"/>
                <a:gd name="connsiteY11" fmla="*/ 766013 h 1004578"/>
                <a:gd name="connsiteX12" fmla="*/ 444575 w 1004578"/>
                <a:gd name="connsiteY12" fmla="*/ 894353 h 1004578"/>
                <a:gd name="connsiteX13" fmla="*/ 579333 w 1004578"/>
                <a:gd name="connsiteY13" fmla="*/ 894353 h 1004578"/>
                <a:gd name="connsiteX14" fmla="*/ 620975 w 1004578"/>
                <a:gd name="connsiteY14" fmla="*/ 766013 h 1004578"/>
                <a:gd name="connsiteX15" fmla="*/ 538986 w 1004578"/>
                <a:gd name="connsiteY15" fmla="*/ 448849 h 1004578"/>
                <a:gd name="connsiteX16" fmla="*/ 538986 w 1004578"/>
                <a:gd name="connsiteY16" fmla="*/ 512571 h 1004578"/>
                <a:gd name="connsiteX17" fmla="*/ 757179 w 1004578"/>
                <a:gd name="connsiteY17" fmla="*/ 512571 h 1004578"/>
                <a:gd name="connsiteX18" fmla="*/ 757179 w 1004578"/>
                <a:gd name="connsiteY18" fmla="*/ 448849 h 1004578"/>
                <a:gd name="connsiteX19" fmla="*/ 285622 w 1004578"/>
                <a:gd name="connsiteY19" fmla="*/ 321404 h 1004578"/>
                <a:gd name="connsiteX20" fmla="*/ 285622 w 1004578"/>
                <a:gd name="connsiteY20" fmla="*/ 385126 h 1004578"/>
                <a:gd name="connsiteX21" fmla="*/ 757179 w 1004578"/>
                <a:gd name="connsiteY21" fmla="*/ 385126 h 1004578"/>
                <a:gd name="connsiteX22" fmla="*/ 757179 w 1004578"/>
                <a:gd name="connsiteY22" fmla="*/ 321404 h 1004578"/>
                <a:gd name="connsiteX23" fmla="*/ 285622 w 1004578"/>
                <a:gd name="connsiteY23" fmla="*/ 193960 h 1004578"/>
                <a:gd name="connsiteX24" fmla="*/ 285622 w 1004578"/>
                <a:gd name="connsiteY24" fmla="*/ 257682 h 1004578"/>
                <a:gd name="connsiteX25" fmla="*/ 757179 w 1004578"/>
                <a:gd name="connsiteY25" fmla="*/ 257682 h 1004578"/>
                <a:gd name="connsiteX26" fmla="*/ 757179 w 1004578"/>
                <a:gd name="connsiteY26" fmla="*/ 193960 h 1004578"/>
                <a:gd name="connsiteX27" fmla="*/ 183678 w 1004578"/>
                <a:gd name="connsiteY27" fmla="*/ 130237 h 1004578"/>
                <a:gd name="connsiteX28" fmla="*/ 840667 w 1004578"/>
                <a:gd name="connsiteY28" fmla="*/ 130237 h 1004578"/>
                <a:gd name="connsiteX29" fmla="*/ 840667 w 1004578"/>
                <a:gd name="connsiteY29" fmla="*/ 576293 h 1004578"/>
                <a:gd name="connsiteX30" fmla="*/ 183678 w 1004578"/>
                <a:gd name="connsiteY30" fmla="*/ 576293 h 1004578"/>
                <a:gd name="connsiteX31" fmla="*/ 119956 w 1004578"/>
                <a:gd name="connsiteY31" fmla="*/ 98376 h 1004578"/>
                <a:gd name="connsiteX32" fmla="*/ 119956 w 1004578"/>
                <a:gd name="connsiteY32" fmla="*/ 608154 h 1004578"/>
                <a:gd name="connsiteX33" fmla="*/ 884623 w 1004578"/>
                <a:gd name="connsiteY33" fmla="*/ 608154 h 1004578"/>
                <a:gd name="connsiteX34" fmla="*/ 884623 w 1004578"/>
                <a:gd name="connsiteY34" fmla="*/ 98376 h 1004578"/>
                <a:gd name="connsiteX35" fmla="*/ 0 w 1004578"/>
                <a:gd name="connsiteY35" fmla="*/ 0 h 1004578"/>
                <a:gd name="connsiteX36" fmla="*/ 1004578 w 1004578"/>
                <a:gd name="connsiteY36" fmla="*/ 0 h 1004578"/>
                <a:gd name="connsiteX37" fmla="*/ 1004578 w 1004578"/>
                <a:gd name="connsiteY37" fmla="*/ 1004578 h 1004578"/>
                <a:gd name="connsiteX38" fmla="*/ 0 w 1004578"/>
                <a:gd name="connsiteY38" fmla="*/ 1004578 h 100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4578" h="1004578">
                  <a:moveTo>
                    <a:pt x="774857" y="686696"/>
                  </a:moveTo>
                  <a:lnTo>
                    <a:pt x="665836" y="766014"/>
                  </a:lnTo>
                  <a:lnTo>
                    <a:pt x="707478" y="894354"/>
                  </a:lnTo>
                  <a:lnTo>
                    <a:pt x="842236" y="894354"/>
                  </a:lnTo>
                  <a:lnTo>
                    <a:pt x="883878" y="766014"/>
                  </a:lnTo>
                  <a:close/>
                  <a:moveTo>
                    <a:pt x="249051" y="686696"/>
                  </a:moveTo>
                  <a:lnTo>
                    <a:pt x="140030" y="766014"/>
                  </a:lnTo>
                  <a:lnTo>
                    <a:pt x="181672" y="894354"/>
                  </a:lnTo>
                  <a:lnTo>
                    <a:pt x="316430" y="894354"/>
                  </a:lnTo>
                  <a:lnTo>
                    <a:pt x="358072" y="766014"/>
                  </a:lnTo>
                  <a:close/>
                  <a:moveTo>
                    <a:pt x="511954" y="686695"/>
                  </a:moveTo>
                  <a:lnTo>
                    <a:pt x="402933" y="766013"/>
                  </a:lnTo>
                  <a:lnTo>
                    <a:pt x="444575" y="894353"/>
                  </a:lnTo>
                  <a:lnTo>
                    <a:pt x="579333" y="894353"/>
                  </a:lnTo>
                  <a:lnTo>
                    <a:pt x="620975" y="766013"/>
                  </a:lnTo>
                  <a:close/>
                  <a:moveTo>
                    <a:pt x="538986" y="448849"/>
                  </a:moveTo>
                  <a:lnTo>
                    <a:pt x="538986" y="512571"/>
                  </a:lnTo>
                  <a:lnTo>
                    <a:pt x="757179" y="512571"/>
                  </a:lnTo>
                  <a:lnTo>
                    <a:pt x="757179" y="448849"/>
                  </a:lnTo>
                  <a:close/>
                  <a:moveTo>
                    <a:pt x="285622" y="321404"/>
                  </a:moveTo>
                  <a:lnTo>
                    <a:pt x="285622" y="385126"/>
                  </a:lnTo>
                  <a:lnTo>
                    <a:pt x="757179" y="385126"/>
                  </a:lnTo>
                  <a:lnTo>
                    <a:pt x="757179" y="321404"/>
                  </a:lnTo>
                  <a:close/>
                  <a:moveTo>
                    <a:pt x="285622" y="193960"/>
                  </a:moveTo>
                  <a:lnTo>
                    <a:pt x="285622" y="257682"/>
                  </a:lnTo>
                  <a:lnTo>
                    <a:pt x="757179" y="257682"/>
                  </a:lnTo>
                  <a:lnTo>
                    <a:pt x="757179" y="193960"/>
                  </a:lnTo>
                  <a:close/>
                  <a:moveTo>
                    <a:pt x="183678" y="130237"/>
                  </a:moveTo>
                  <a:lnTo>
                    <a:pt x="840667" y="130237"/>
                  </a:lnTo>
                  <a:lnTo>
                    <a:pt x="840667" y="576293"/>
                  </a:lnTo>
                  <a:lnTo>
                    <a:pt x="183678" y="576293"/>
                  </a:lnTo>
                  <a:close/>
                  <a:moveTo>
                    <a:pt x="119956" y="98376"/>
                  </a:moveTo>
                  <a:lnTo>
                    <a:pt x="119956" y="608154"/>
                  </a:lnTo>
                  <a:lnTo>
                    <a:pt x="884623" y="608154"/>
                  </a:lnTo>
                  <a:lnTo>
                    <a:pt x="884623" y="98376"/>
                  </a:lnTo>
                  <a:close/>
                  <a:moveTo>
                    <a:pt x="0" y="0"/>
                  </a:moveTo>
                  <a:lnTo>
                    <a:pt x="1004578" y="0"/>
                  </a:lnTo>
                  <a:lnTo>
                    <a:pt x="1004578" y="1004578"/>
                  </a:lnTo>
                  <a:lnTo>
                    <a:pt x="0" y="1004578"/>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6" name="TextBox 55"/>
            <p:cNvSpPr txBox="1"/>
            <p:nvPr/>
          </p:nvSpPr>
          <p:spPr>
            <a:xfrm>
              <a:off x="1516204" y="5859462"/>
              <a:ext cx="2442912" cy="646331"/>
            </a:xfrm>
            <a:prstGeom prst="rect">
              <a:avLst/>
            </a:prstGeom>
            <a:noFill/>
          </p:spPr>
          <p:txBody>
            <a:bodyPr wrap="none" rtlCol="0">
              <a:spAutoFit/>
            </a:bodyPr>
            <a:lstStyle/>
            <a:p>
              <a:pPr algn="ctr"/>
              <a:r>
                <a:rPr lang="en-US" dirty="0" smtClean="0">
                  <a:latin typeface="+mn-lt"/>
                </a:rPr>
                <a:t>Windows Azure</a:t>
              </a:r>
              <a:br>
                <a:rPr lang="en-US" dirty="0" smtClean="0">
                  <a:latin typeface="+mn-lt"/>
                </a:rPr>
              </a:br>
              <a:r>
                <a:rPr lang="en-US" dirty="0" smtClean="0">
                  <a:latin typeface="+mn-lt"/>
                </a:rPr>
                <a:t>Authentication Library</a:t>
              </a:r>
            </a:p>
          </p:txBody>
        </p:sp>
      </p:grpSp>
      <p:grpSp>
        <p:nvGrpSpPr>
          <p:cNvPr id="57" name="Group 56"/>
          <p:cNvGrpSpPr/>
          <p:nvPr/>
        </p:nvGrpSpPr>
        <p:grpSpPr>
          <a:xfrm>
            <a:off x="5077362" y="4410157"/>
            <a:ext cx="2507832" cy="1505183"/>
            <a:chOff x="3537113" y="5203147"/>
            <a:chExt cx="1808890" cy="1085683"/>
          </a:xfrm>
        </p:grpSpPr>
        <p:pic>
          <p:nvPicPr>
            <p:cNvPr id="58" name="Picture 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37113" y="5820371"/>
              <a:ext cx="1808890" cy="421949"/>
            </a:xfrm>
            <a:prstGeom prst="rect">
              <a:avLst/>
            </a:prstGeom>
          </p:spPr>
        </p:pic>
        <p:sp>
          <p:nvSpPr>
            <p:cNvPr id="59" name="Rectangle 58"/>
            <p:cNvSpPr/>
            <p:nvPr/>
          </p:nvSpPr>
          <p:spPr>
            <a:xfrm>
              <a:off x="3983339" y="6089032"/>
              <a:ext cx="1165490" cy="199798"/>
            </a:xfrm>
            <a:prstGeom prst="rect">
              <a:avLst/>
            </a:prstGeom>
            <a:ln>
              <a:noFill/>
            </a:ln>
          </p:spPr>
          <p:txBody>
            <a:bodyPr wrap="none" lIns="0" tIns="0" rIns="0" bIns="0" anchor="ctr">
              <a:spAutoFit/>
            </a:bodyPr>
            <a:lstStyle/>
            <a:p>
              <a:pPr algn="ctr" defTabSz="1118323" fontAlgn="base">
                <a:spcBef>
                  <a:spcPts val="1468"/>
                </a:spcBef>
                <a:spcAft>
                  <a:spcPct val="0"/>
                </a:spcAft>
              </a:pPr>
              <a:r>
                <a:rPr lang="en-US" dirty="0">
                  <a:ln>
                    <a:solidFill>
                      <a:srgbClr val="FFFFFF">
                        <a:alpha val="0"/>
                      </a:srgbClr>
                    </a:solidFill>
                  </a:ln>
                  <a:solidFill>
                    <a:srgbClr val="FFFFFF"/>
                  </a:solidFill>
                  <a:latin typeface="Segoe"/>
                </a:rPr>
                <a:t>Active Directory</a:t>
              </a:r>
            </a:p>
          </p:txBody>
        </p:sp>
        <p:pic>
          <p:nvPicPr>
            <p:cNvPr id="60" name="Picture 5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0288" y="5203147"/>
              <a:ext cx="967012" cy="646270"/>
            </a:xfrm>
            <a:prstGeom prst="rect">
              <a:avLst/>
            </a:prstGeom>
          </p:spPr>
        </p:pic>
      </p:grpSp>
      <p:grpSp>
        <p:nvGrpSpPr>
          <p:cNvPr id="61" name="Group 60"/>
          <p:cNvGrpSpPr/>
          <p:nvPr/>
        </p:nvGrpSpPr>
        <p:grpSpPr>
          <a:xfrm>
            <a:off x="4805198" y="1182990"/>
            <a:ext cx="2798820" cy="1507375"/>
            <a:chOff x="4032160" y="1382554"/>
            <a:chExt cx="1979778" cy="1066259"/>
          </a:xfrm>
        </p:grpSpPr>
        <p:sp>
          <p:nvSpPr>
            <p:cNvPr id="62" name="Freeform 61"/>
            <p:cNvSpPr>
              <a:spLocks/>
            </p:cNvSpPr>
            <p:nvPr/>
          </p:nvSpPr>
          <p:spPr bwMode="auto">
            <a:xfrm>
              <a:off x="4032160" y="1382554"/>
              <a:ext cx="1979778" cy="1066259"/>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chemeClr val="tx1"/>
              </a:solidFill>
              <a:prstDash val="solid"/>
              <a:headEnd type="none" w="med" len="med"/>
              <a:tailEnd type="none" w="med" len="med"/>
            </a:ln>
            <a:effectLst/>
            <a:extLst/>
          </p:spPr>
          <p:txBody>
            <a:bodyPr vert="horz" wrap="square" lIns="112001" tIns="0" rIns="112001" bIns="56000"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19678" fontAlgn="base">
                <a:spcBef>
                  <a:spcPct val="0"/>
                </a:spcBef>
                <a:spcAft>
                  <a:spcPct val="0"/>
                </a:spcAft>
                <a:defRPr/>
              </a:pPr>
              <a:endParaRPr lang="en-US" sz="1900" b="1" kern="0" dirty="0">
                <a:solidFill>
                  <a:srgbClr val="FFFFFF"/>
                </a:solidFill>
                <a:latin typeface="Segoe" pitchFamily="34" charset="0"/>
              </a:endParaRPr>
            </a:p>
          </p:txBody>
        </p:sp>
        <p:sp>
          <p:nvSpPr>
            <p:cNvPr id="63" name="Rectangle 62"/>
            <p:cNvSpPr/>
            <p:nvPr/>
          </p:nvSpPr>
          <p:spPr>
            <a:xfrm>
              <a:off x="4607000" y="2118035"/>
              <a:ext cx="1142974" cy="195938"/>
            </a:xfrm>
            <a:prstGeom prst="rect">
              <a:avLst/>
            </a:prstGeom>
            <a:ln>
              <a:noFill/>
            </a:ln>
          </p:spPr>
          <p:txBody>
            <a:bodyPr wrap="none" lIns="0" tIns="0" rIns="0" bIns="0" anchor="ctr">
              <a:spAutoFit/>
            </a:bodyPr>
            <a:lstStyle/>
            <a:p>
              <a:pPr algn="ctr" defTabSz="1096503" fontAlgn="base">
                <a:spcAft>
                  <a:spcPct val="0"/>
                </a:spcAft>
              </a:pPr>
              <a:r>
                <a:rPr lang="en-US" dirty="0">
                  <a:ln>
                    <a:solidFill>
                      <a:srgbClr val="FFFFFF">
                        <a:alpha val="0"/>
                      </a:srgbClr>
                    </a:solidFill>
                  </a:ln>
                  <a:solidFill>
                    <a:srgbClr val="FFFFFF"/>
                  </a:solidFill>
                  <a:latin typeface="Segoe"/>
                </a:rPr>
                <a:t>Active Directory</a:t>
              </a:r>
            </a:p>
          </p:txBody>
        </p:sp>
        <p:pic>
          <p:nvPicPr>
            <p:cNvPr id="64" name="Picture 6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59803" y="1815954"/>
              <a:ext cx="1745607" cy="420449"/>
            </a:xfrm>
            <a:prstGeom prst="rect">
              <a:avLst/>
            </a:prstGeom>
          </p:spPr>
        </p:pic>
      </p:grpSp>
    </p:spTree>
    <p:extLst>
      <p:ext uri="{BB962C8B-B14F-4D97-AF65-F5344CB8AC3E}">
        <p14:creationId xmlns:p14="http://schemas.microsoft.com/office/powerpoint/2010/main" val="1488686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1"/>
                                        </p:tgtEl>
                                        <p:attrNameLst>
                                          <p:attrName>style.visibility</p:attrName>
                                        </p:attrNameLst>
                                      </p:cBhvr>
                                      <p:to>
                                        <p:strVal val="visible"/>
                                      </p:to>
                                    </p:set>
                                    <p:animEffect transition="in" filter="fade">
                                      <p:cBhvr>
                                        <p:cTn id="11"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5" name="Text Placeholder 4"/>
          <p:cNvSpPr>
            <a:spLocks noGrp="1"/>
          </p:cNvSpPr>
          <p:nvPr>
            <p:ph type="body" sz="quarter" idx="10"/>
          </p:nvPr>
        </p:nvSpPr>
        <p:spPr/>
        <p:txBody>
          <a:bodyPr/>
          <a:lstStyle/>
          <a:p>
            <a:r>
              <a:rPr lang="en-US" dirty="0" smtClean="0">
                <a:hlinkClick r:id="rId2"/>
              </a:rPr>
              <a:t>Windows Azure AD home</a:t>
            </a:r>
            <a:endParaRPr lang="en-US" dirty="0" smtClean="0"/>
          </a:p>
          <a:p>
            <a:r>
              <a:rPr lang="en-US" dirty="0" smtClean="0">
                <a:hlinkClick r:id="rId3"/>
              </a:rPr>
              <a:t>Window Server AD home</a:t>
            </a:r>
            <a:endParaRPr lang="en-US" dirty="0" smtClean="0"/>
          </a:p>
          <a:p>
            <a:r>
              <a:rPr lang="en-US" dirty="0" smtClean="0">
                <a:hlinkClick r:id="rId4"/>
              </a:rPr>
              <a:t>Windows Azure and Windows Server AD Team Blog</a:t>
            </a:r>
            <a:endParaRPr lang="en-US" dirty="0" smtClean="0"/>
          </a:p>
          <a:p>
            <a:r>
              <a:rPr lang="en-US" dirty="0" smtClean="0">
                <a:hlinkClick r:id="rId4"/>
              </a:rPr>
              <a:t>Windows azure AD Walkthroughs</a:t>
            </a:r>
            <a:endParaRPr lang="en-US" dirty="0" smtClean="0"/>
          </a:p>
          <a:p>
            <a:endParaRPr lang="en-US" dirty="0"/>
          </a:p>
          <a:p>
            <a:r>
              <a:rPr lang="en-US" dirty="0" smtClean="0"/>
              <a:t>Find me:</a:t>
            </a:r>
          </a:p>
          <a:p>
            <a:r>
              <a:rPr lang="en-US" dirty="0" smtClean="0"/>
              <a:t>On twitter - @</a:t>
            </a:r>
            <a:r>
              <a:rPr lang="en-US" dirty="0" err="1" smtClean="0"/>
              <a:t>vibronet</a:t>
            </a:r>
            <a:endParaRPr lang="en-US" dirty="0" smtClean="0"/>
          </a:p>
          <a:p>
            <a:r>
              <a:rPr lang="en-US" dirty="0" smtClean="0"/>
              <a:t>On the web – </a:t>
            </a:r>
            <a:r>
              <a:rPr lang="en-US" dirty="0" smtClean="0">
                <a:hlinkClick r:id="rId5"/>
              </a:rPr>
              <a:t>www.cloudidentity.com</a:t>
            </a:r>
            <a:r>
              <a:rPr lang="en-US" dirty="0" smtClean="0"/>
              <a:t> </a:t>
            </a:r>
            <a:endParaRPr lang="en-US" dirty="0"/>
          </a:p>
        </p:txBody>
      </p:sp>
    </p:spTree>
    <p:extLst>
      <p:ext uri="{BB962C8B-B14F-4D97-AF65-F5344CB8AC3E}">
        <p14:creationId xmlns:p14="http://schemas.microsoft.com/office/powerpoint/2010/main" val="105585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694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66049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3" name="Text Placeholder 2"/>
          <p:cNvSpPr>
            <a:spLocks noGrp="1"/>
          </p:cNvSpPr>
          <p:nvPr>
            <p:ph type="body" sz="quarter" idx="10"/>
          </p:nvPr>
        </p:nvSpPr>
        <p:spPr>
          <a:xfrm>
            <a:off x="274638" y="1834961"/>
            <a:ext cx="4445652" cy="4861113"/>
          </a:xfrm>
        </p:spPr>
        <p:txBody>
          <a:bodyPr/>
          <a:lstStyle/>
          <a:p>
            <a:r>
              <a:rPr lang="en-US" b="1" dirty="0">
                <a:gradFill>
                  <a:gsLst>
                    <a:gs pos="1250">
                      <a:srgbClr val="FFFFFF"/>
                    </a:gs>
                    <a:gs pos="100000">
                      <a:srgbClr val="FFFFFF"/>
                    </a:gs>
                  </a:gsLst>
                  <a:lin ang="5400000" scaled="0"/>
                </a:gradFill>
                <a:latin typeface="+mn-lt"/>
              </a:rPr>
              <a:t>Scan this QR code</a:t>
            </a:r>
            <a:r>
              <a:rPr lang="en-US" b="1" dirty="0">
                <a:gradFill>
                  <a:gsLst>
                    <a:gs pos="1250">
                      <a:srgbClr val="FFFFFF"/>
                    </a:gs>
                    <a:gs pos="100000">
                      <a:srgbClr val="FFFFFF"/>
                    </a:gs>
                  </a:gsLst>
                  <a:lin ang="5400000" scaled="0"/>
                </a:gradFill>
              </a:rPr>
              <a:t> </a:t>
            </a:r>
            <a:r>
              <a:rPr lang="en-US" dirty="0">
                <a:gradFill>
                  <a:gsLst>
                    <a:gs pos="1250">
                      <a:srgbClr val="FFFFFF"/>
                    </a:gs>
                    <a:gs pos="100000">
                      <a:srgbClr val="FFFFFF"/>
                    </a:gs>
                  </a:gsLst>
                  <a:lin ang="5400000" scaled="0"/>
                </a:gradFill>
              </a:rPr>
              <a:t>to evaluate this session and be automatically entered in a </a:t>
            </a:r>
            <a:r>
              <a:rPr lang="en-US" dirty="0" smtClean="0">
                <a:gradFill>
                  <a:gsLst>
                    <a:gs pos="1250">
                      <a:srgbClr val="FFFFFF"/>
                    </a:gs>
                    <a:gs pos="100000">
                      <a:srgbClr val="FFFFFF"/>
                    </a:gs>
                  </a:gsLst>
                  <a:lin ang="5400000" scaled="0"/>
                </a:gradFill>
              </a:rPr>
              <a:t>drawing </a:t>
            </a:r>
            <a:r>
              <a:rPr lang="en-US" dirty="0">
                <a:gradFill>
                  <a:gsLst>
                    <a:gs pos="1250">
                      <a:srgbClr val="FFFFFF"/>
                    </a:gs>
                    <a:gs pos="100000">
                      <a:srgbClr val="FFFFFF"/>
                    </a:gs>
                  </a:gsLst>
                  <a:lin ang="5400000" scaled="0"/>
                </a:gradFill>
              </a:rPr>
              <a:t>to </a:t>
            </a:r>
            <a:r>
              <a:rPr lang="en-US" dirty="0" smtClean="0">
                <a:gradFill>
                  <a:gsLst>
                    <a:gs pos="1250">
                      <a:srgbClr val="FFFFFF"/>
                    </a:gs>
                    <a:gs pos="100000">
                      <a:srgbClr val="FFFFFF"/>
                    </a:gs>
                  </a:gsLst>
                  <a:lin ang="5400000" scaled="0"/>
                </a:gradFill>
              </a:rPr>
              <a:t>win </a:t>
            </a:r>
            <a:r>
              <a:rPr lang="en-US" dirty="0">
                <a:gradFill>
                  <a:gsLst>
                    <a:gs pos="1250">
                      <a:srgbClr val="FFFFFF"/>
                    </a:gs>
                    <a:gs pos="100000">
                      <a:srgbClr val="FFFFFF"/>
                    </a:gs>
                  </a:gsLst>
                  <a:lin ang="5400000" scaled="0"/>
                </a:gradFill>
              </a:rPr>
              <a:t>a </a:t>
            </a:r>
            <a:r>
              <a:rPr lang="en-US" dirty="0" smtClean="0">
                <a:gradFill>
                  <a:gsLst>
                    <a:gs pos="1250">
                      <a:srgbClr val="FFFFFF"/>
                    </a:gs>
                    <a:gs pos="100000">
                      <a:srgbClr val="FFFFFF"/>
                    </a:gs>
                  </a:gsLst>
                  <a:lin ang="5400000" scaled="0"/>
                </a:gradFill>
              </a:rPr>
              <a:t>prize!</a:t>
            </a:r>
            <a:endParaRPr lang="en-US" b="1" dirty="0">
              <a:gradFill>
                <a:gsLst>
                  <a:gs pos="1250">
                    <a:srgbClr val="FFFFFF"/>
                  </a:gs>
                  <a:gs pos="100000">
                    <a:srgbClr val="FFFFFF"/>
                  </a:gs>
                </a:gsLst>
                <a:lin ang="5400000" scaled="0"/>
              </a:gradFill>
            </a:endParaRPr>
          </a:p>
        </p:txBody>
      </p:sp>
      <p:grpSp>
        <p:nvGrpSpPr>
          <p:cNvPr id="10" name="Group 9"/>
          <p:cNvGrpSpPr/>
          <p:nvPr/>
        </p:nvGrpSpPr>
        <p:grpSpPr>
          <a:xfrm>
            <a:off x="9943129" y="217960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88672" y="1626533"/>
            <a:ext cx="4762500" cy="4762500"/>
          </a:xfrm>
          <a:prstGeom prst="rect">
            <a:avLst/>
          </a:prstGeom>
        </p:spPr>
      </p:pic>
    </p:spTree>
    <p:extLst>
      <p:ext uri="{BB962C8B-B14F-4D97-AF65-F5344CB8AC3E}">
        <p14:creationId xmlns:p14="http://schemas.microsoft.com/office/powerpoint/2010/main" val="16429656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800" dirty="0" smtClean="0"/>
              <a:t>Access resources outside of the corporate network.</a:t>
            </a:r>
          </a:p>
          <a:p>
            <a:r>
              <a:rPr lang="en-US" sz="2800" dirty="0" smtClean="0"/>
              <a:t>Handle authentication and session mechanics.</a:t>
            </a:r>
          </a:p>
          <a:p>
            <a:r>
              <a:rPr lang="en-US" sz="2800" dirty="0" smtClean="0"/>
              <a:t>Apply access policies on non-domain joined devices.</a:t>
            </a:r>
          </a:p>
        </p:txBody>
      </p:sp>
      <p:sp>
        <p:nvSpPr>
          <p:cNvPr id="4" name="Content Placeholder 3"/>
          <p:cNvSpPr>
            <a:spLocks noGrp="1"/>
          </p:cNvSpPr>
          <p:nvPr>
            <p:ph type="body" sz="quarter" idx="11"/>
          </p:nvPr>
        </p:nvSpPr>
        <p:spPr/>
        <p:txBody>
          <a:bodyPr/>
          <a:lstStyle/>
          <a:p>
            <a:r>
              <a:rPr lang="en-US" sz="2000" dirty="0" smtClean="0"/>
              <a:t>Tackle those, and you’ve got yourself a nice business app.</a:t>
            </a:r>
          </a:p>
        </p:txBody>
      </p:sp>
      <p:sp>
        <p:nvSpPr>
          <p:cNvPr id="3" name="Title 2"/>
          <p:cNvSpPr>
            <a:spLocks noGrp="1"/>
          </p:cNvSpPr>
          <p:nvPr>
            <p:ph type="title"/>
          </p:nvPr>
        </p:nvSpPr>
        <p:spPr/>
        <p:txBody>
          <a:bodyPr/>
          <a:lstStyle/>
          <a:p>
            <a:r>
              <a:rPr lang="en-US" dirty="0" smtClean="0"/>
              <a:t>Checklist</a:t>
            </a:r>
            <a:endParaRPr lang="en-US" dirty="0"/>
          </a:p>
        </p:txBody>
      </p:sp>
      <p:sp>
        <p:nvSpPr>
          <p:cNvPr id="5" name="Rectangle 4"/>
          <p:cNvSpPr/>
          <p:nvPr/>
        </p:nvSpPr>
        <p:spPr bwMode="auto">
          <a:xfrm>
            <a:off x="3170237" y="1897062"/>
            <a:ext cx="304800" cy="304800"/>
          </a:xfrm>
          <a:prstGeom prst="rect">
            <a:avLst/>
          </a:prstGeom>
          <a:solidFill>
            <a:srgbClr val="00188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3170237" y="2395473"/>
            <a:ext cx="304800" cy="304800"/>
          </a:xfrm>
          <a:prstGeom prst="rect">
            <a:avLst/>
          </a:prstGeom>
          <a:solidFill>
            <a:srgbClr val="00188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3170237" y="2893884"/>
            <a:ext cx="304800" cy="304800"/>
          </a:xfrm>
          <a:prstGeom prst="rect">
            <a:avLst/>
          </a:prstGeom>
          <a:solidFill>
            <a:srgbClr val="00188F"/>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89517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ccess resources outside of the corporate network</a:t>
            </a:r>
          </a:p>
        </p:txBody>
      </p:sp>
    </p:spTree>
    <p:extLst>
      <p:ext uri="{BB962C8B-B14F-4D97-AF65-F5344CB8AC3E}">
        <p14:creationId xmlns:p14="http://schemas.microsoft.com/office/powerpoint/2010/main" val="170198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T, OAuth2</a:t>
            </a:r>
            <a:endParaRPr lang="en-US" dirty="0"/>
          </a:p>
        </p:txBody>
      </p:sp>
      <p:grpSp>
        <p:nvGrpSpPr>
          <p:cNvPr id="17" name="Group 16"/>
          <p:cNvGrpSpPr/>
          <p:nvPr>
            <p:custDataLst>
              <p:custData r:id="rId1"/>
            </p:custDataLst>
          </p:nvPr>
        </p:nvGrpSpPr>
        <p:grpSpPr>
          <a:xfrm>
            <a:off x="1036637" y="4007752"/>
            <a:ext cx="1004578" cy="1255014"/>
            <a:chOff x="463390" y="6616489"/>
            <a:chExt cx="1004578" cy="1255014"/>
          </a:xfrm>
        </p:grpSpPr>
        <p:sp>
          <p:nvSpPr>
            <p:cNvPr id="18" name="Freeform 17"/>
            <p:cNvSpPr/>
            <p:nvPr/>
          </p:nvSpPr>
          <p:spPr bwMode="auto">
            <a:xfrm>
              <a:off x="463390" y="6616489"/>
              <a:ext cx="1004578" cy="1004578"/>
            </a:xfrm>
            <a:custGeom>
              <a:avLst/>
              <a:gdLst>
                <a:gd name="connsiteX0" fmla="*/ 533769 w 1004578"/>
                <a:gd name="connsiteY0" fmla="*/ 537339 h 1004578"/>
                <a:gd name="connsiteX1" fmla="*/ 533769 w 1004578"/>
                <a:gd name="connsiteY1" fmla="*/ 918339 h 1004578"/>
                <a:gd name="connsiteX2" fmla="*/ 914769 w 1004578"/>
                <a:gd name="connsiteY2" fmla="*/ 918339 h 1004578"/>
                <a:gd name="connsiteX3" fmla="*/ 914769 w 1004578"/>
                <a:gd name="connsiteY3" fmla="*/ 537339 h 1004578"/>
                <a:gd name="connsiteX4" fmla="*/ 89809 w 1004578"/>
                <a:gd name="connsiteY4" fmla="*/ 537339 h 1004578"/>
                <a:gd name="connsiteX5" fmla="*/ 89809 w 1004578"/>
                <a:gd name="connsiteY5" fmla="*/ 918339 h 1004578"/>
                <a:gd name="connsiteX6" fmla="*/ 470809 w 1004578"/>
                <a:gd name="connsiteY6" fmla="*/ 918339 h 1004578"/>
                <a:gd name="connsiteX7" fmla="*/ 470809 w 1004578"/>
                <a:gd name="connsiteY7" fmla="*/ 537339 h 1004578"/>
                <a:gd name="connsiteX8" fmla="*/ 731654 w 1004578"/>
                <a:gd name="connsiteY8" fmla="*/ 284124 h 1004578"/>
                <a:gd name="connsiteX9" fmla="*/ 731654 w 1004578"/>
                <a:gd name="connsiteY9" fmla="*/ 467239 h 1004578"/>
                <a:gd name="connsiteX10" fmla="*/ 914769 w 1004578"/>
                <a:gd name="connsiteY10" fmla="*/ 467239 h 1004578"/>
                <a:gd name="connsiteX11" fmla="*/ 914769 w 1004578"/>
                <a:gd name="connsiteY11" fmla="*/ 284124 h 1004578"/>
                <a:gd name="connsiteX12" fmla="*/ 533769 w 1004578"/>
                <a:gd name="connsiteY12" fmla="*/ 284124 h 1004578"/>
                <a:gd name="connsiteX13" fmla="*/ 533769 w 1004578"/>
                <a:gd name="connsiteY13" fmla="*/ 467239 h 1004578"/>
                <a:gd name="connsiteX14" fmla="*/ 716884 w 1004578"/>
                <a:gd name="connsiteY14" fmla="*/ 467239 h 1004578"/>
                <a:gd name="connsiteX15" fmla="*/ 716884 w 1004578"/>
                <a:gd name="connsiteY15" fmla="*/ 284124 h 1004578"/>
                <a:gd name="connsiteX16" fmla="*/ 730735 w 1004578"/>
                <a:gd name="connsiteY16" fmla="*/ 86239 h 1004578"/>
                <a:gd name="connsiteX17" fmla="*/ 730735 w 1004578"/>
                <a:gd name="connsiteY17" fmla="*/ 269354 h 1004578"/>
                <a:gd name="connsiteX18" fmla="*/ 913850 w 1004578"/>
                <a:gd name="connsiteY18" fmla="*/ 269354 h 1004578"/>
                <a:gd name="connsiteX19" fmla="*/ 913850 w 1004578"/>
                <a:gd name="connsiteY19" fmla="*/ 86239 h 1004578"/>
                <a:gd name="connsiteX20" fmla="*/ 533769 w 1004578"/>
                <a:gd name="connsiteY20" fmla="*/ 86239 h 1004578"/>
                <a:gd name="connsiteX21" fmla="*/ 533769 w 1004578"/>
                <a:gd name="connsiteY21" fmla="*/ 269354 h 1004578"/>
                <a:gd name="connsiteX22" fmla="*/ 716884 w 1004578"/>
                <a:gd name="connsiteY22" fmla="*/ 269354 h 1004578"/>
                <a:gd name="connsiteX23" fmla="*/ 716884 w 1004578"/>
                <a:gd name="connsiteY23" fmla="*/ 86239 h 1004578"/>
                <a:gd name="connsiteX24" fmla="*/ 89809 w 1004578"/>
                <a:gd name="connsiteY24" fmla="*/ 86239 h 1004578"/>
                <a:gd name="connsiteX25" fmla="*/ 89809 w 1004578"/>
                <a:gd name="connsiteY25" fmla="*/ 467239 h 1004578"/>
                <a:gd name="connsiteX26" fmla="*/ 470809 w 1004578"/>
                <a:gd name="connsiteY26" fmla="*/ 467239 h 1004578"/>
                <a:gd name="connsiteX27" fmla="*/ 470809 w 1004578"/>
                <a:gd name="connsiteY27" fmla="*/ 86239 h 1004578"/>
                <a:gd name="connsiteX28" fmla="*/ 0 w 1004578"/>
                <a:gd name="connsiteY28" fmla="*/ 0 h 1004578"/>
                <a:gd name="connsiteX29" fmla="*/ 1004578 w 1004578"/>
                <a:gd name="connsiteY29" fmla="*/ 0 h 1004578"/>
                <a:gd name="connsiteX30" fmla="*/ 1004578 w 1004578"/>
                <a:gd name="connsiteY30" fmla="*/ 1004578 h 1004578"/>
                <a:gd name="connsiteX31" fmla="*/ 0 w 1004578"/>
                <a:gd name="connsiteY31" fmla="*/ 1004578 h 100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4578" h="1004578">
                  <a:moveTo>
                    <a:pt x="533769" y="537339"/>
                  </a:moveTo>
                  <a:lnTo>
                    <a:pt x="533769" y="918339"/>
                  </a:lnTo>
                  <a:lnTo>
                    <a:pt x="914769" y="918339"/>
                  </a:lnTo>
                  <a:lnTo>
                    <a:pt x="914769" y="537339"/>
                  </a:lnTo>
                  <a:close/>
                  <a:moveTo>
                    <a:pt x="89809" y="537339"/>
                  </a:moveTo>
                  <a:lnTo>
                    <a:pt x="89809" y="918339"/>
                  </a:lnTo>
                  <a:lnTo>
                    <a:pt x="470809" y="918339"/>
                  </a:lnTo>
                  <a:lnTo>
                    <a:pt x="470809" y="537339"/>
                  </a:lnTo>
                  <a:close/>
                  <a:moveTo>
                    <a:pt x="731654" y="284124"/>
                  </a:moveTo>
                  <a:lnTo>
                    <a:pt x="731654" y="467239"/>
                  </a:lnTo>
                  <a:lnTo>
                    <a:pt x="914769" y="467239"/>
                  </a:lnTo>
                  <a:lnTo>
                    <a:pt x="914769" y="284124"/>
                  </a:lnTo>
                  <a:close/>
                  <a:moveTo>
                    <a:pt x="533769" y="284124"/>
                  </a:moveTo>
                  <a:lnTo>
                    <a:pt x="533769" y="467239"/>
                  </a:lnTo>
                  <a:lnTo>
                    <a:pt x="716884" y="467239"/>
                  </a:lnTo>
                  <a:lnTo>
                    <a:pt x="716884" y="284124"/>
                  </a:lnTo>
                  <a:close/>
                  <a:moveTo>
                    <a:pt x="730735" y="86239"/>
                  </a:moveTo>
                  <a:lnTo>
                    <a:pt x="730735" y="269354"/>
                  </a:lnTo>
                  <a:lnTo>
                    <a:pt x="913850" y="269354"/>
                  </a:lnTo>
                  <a:lnTo>
                    <a:pt x="913850" y="86239"/>
                  </a:lnTo>
                  <a:close/>
                  <a:moveTo>
                    <a:pt x="533769" y="86239"/>
                  </a:moveTo>
                  <a:lnTo>
                    <a:pt x="533769" y="269354"/>
                  </a:lnTo>
                  <a:lnTo>
                    <a:pt x="716884" y="269354"/>
                  </a:lnTo>
                  <a:lnTo>
                    <a:pt x="716884" y="86239"/>
                  </a:lnTo>
                  <a:close/>
                  <a:moveTo>
                    <a:pt x="89809" y="86239"/>
                  </a:moveTo>
                  <a:lnTo>
                    <a:pt x="89809" y="467239"/>
                  </a:lnTo>
                  <a:lnTo>
                    <a:pt x="470809" y="467239"/>
                  </a:lnTo>
                  <a:lnTo>
                    <a:pt x="470809" y="86239"/>
                  </a:lnTo>
                  <a:close/>
                  <a:moveTo>
                    <a:pt x="0" y="0"/>
                  </a:moveTo>
                  <a:lnTo>
                    <a:pt x="1004578" y="0"/>
                  </a:lnTo>
                  <a:lnTo>
                    <a:pt x="1004578" y="1004578"/>
                  </a:lnTo>
                  <a:lnTo>
                    <a:pt x="0" y="1004578"/>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19" name="TextBox 18"/>
            <p:cNvSpPr txBox="1"/>
            <p:nvPr/>
          </p:nvSpPr>
          <p:spPr>
            <a:xfrm>
              <a:off x="662551" y="7502171"/>
              <a:ext cx="606256" cy="369332"/>
            </a:xfrm>
            <a:prstGeom prst="rect">
              <a:avLst/>
            </a:prstGeom>
            <a:noFill/>
          </p:spPr>
          <p:txBody>
            <a:bodyPr wrap="none" rtlCol="0">
              <a:spAutoFit/>
            </a:bodyPr>
            <a:lstStyle/>
            <a:p>
              <a:pPr algn="ctr"/>
              <a:r>
                <a:rPr lang="en-US" dirty="0" smtClean="0">
                  <a:latin typeface="+mn-lt"/>
                </a:rPr>
                <a:t>App</a:t>
              </a:r>
              <a:endParaRPr lang="en-US" dirty="0">
                <a:latin typeface="+mn-lt"/>
              </a:endParaRPr>
            </a:p>
          </p:txBody>
        </p:sp>
      </p:grpSp>
      <p:grpSp>
        <p:nvGrpSpPr>
          <p:cNvPr id="20" name="Group 19"/>
          <p:cNvGrpSpPr/>
          <p:nvPr>
            <p:custDataLst>
              <p:custData r:id="rId2"/>
            </p:custDataLst>
          </p:nvPr>
        </p:nvGrpSpPr>
        <p:grpSpPr>
          <a:xfrm>
            <a:off x="10485437" y="4046081"/>
            <a:ext cx="1103379" cy="1373910"/>
            <a:chOff x="3723435" y="3901278"/>
            <a:chExt cx="1163607" cy="1448904"/>
          </a:xfrm>
        </p:grpSpPr>
        <p:sp>
          <p:nvSpPr>
            <p:cNvPr id="21" name="Freeform 20"/>
            <p:cNvSpPr/>
            <p:nvPr/>
          </p:nvSpPr>
          <p:spPr bwMode="auto">
            <a:xfrm>
              <a:off x="3783341" y="3901278"/>
              <a:ext cx="1043784" cy="1043784"/>
            </a:xfrm>
            <a:custGeom>
              <a:avLst/>
              <a:gdLst>
                <a:gd name="connsiteX0" fmla="*/ 1409700 w 2819400"/>
                <a:gd name="connsiteY0" fmla="*/ 952500 h 2819400"/>
                <a:gd name="connsiteX1" fmla="*/ 1866900 w 2819400"/>
                <a:gd name="connsiteY1" fmla="*/ 1409700 h 2819400"/>
                <a:gd name="connsiteX2" fmla="*/ 1409700 w 2819400"/>
                <a:gd name="connsiteY2" fmla="*/ 1866900 h 2819400"/>
                <a:gd name="connsiteX3" fmla="*/ 952500 w 2819400"/>
                <a:gd name="connsiteY3" fmla="*/ 1409700 h 2819400"/>
                <a:gd name="connsiteX4" fmla="*/ 1409700 w 2819400"/>
                <a:gd name="connsiteY4" fmla="*/ 952500 h 2819400"/>
                <a:gd name="connsiteX5" fmla="*/ 1333500 w 2819400"/>
                <a:gd name="connsiteY5" fmla="*/ 419100 h 2819400"/>
                <a:gd name="connsiteX6" fmla="*/ 1333500 w 2819400"/>
                <a:gd name="connsiteY6" fmla="*/ 588645 h 2819400"/>
                <a:gd name="connsiteX7" fmla="*/ 1237641 w 2819400"/>
                <a:gd name="connsiteY7" fmla="*/ 599554 h 2819400"/>
                <a:gd name="connsiteX8" fmla="*/ 1159408 w 2819400"/>
                <a:gd name="connsiteY8" fmla="*/ 625030 h 2819400"/>
                <a:gd name="connsiteX9" fmla="*/ 1092784 w 2819400"/>
                <a:gd name="connsiteY9" fmla="*/ 468074 h 2819400"/>
                <a:gd name="connsiteX10" fmla="*/ 952499 w 2819400"/>
                <a:gd name="connsiteY10" fmla="*/ 527622 h 2819400"/>
                <a:gd name="connsiteX11" fmla="*/ 1017714 w 2819400"/>
                <a:gd name="connsiteY11" fmla="*/ 681258 h 2819400"/>
                <a:gd name="connsiteX12" fmla="*/ 995010 w 2819400"/>
                <a:gd name="connsiteY12" fmla="*/ 692834 h 2819400"/>
                <a:gd name="connsiteX13" fmla="*/ 904432 w 2819400"/>
                <a:gd name="connsiteY13" fmla="*/ 753403 h 2819400"/>
                <a:gd name="connsiteX14" fmla="*/ 870603 w 2819400"/>
                <a:gd name="connsiteY14" fmla="*/ 783170 h 2819400"/>
                <a:gd name="connsiteX15" fmla="*/ 750055 w 2819400"/>
                <a:gd name="connsiteY15" fmla="*/ 666758 h 2819400"/>
                <a:gd name="connsiteX16" fmla="*/ 644189 w 2819400"/>
                <a:gd name="connsiteY16" fmla="*/ 776385 h 2819400"/>
                <a:gd name="connsiteX17" fmla="*/ 764315 w 2819400"/>
                <a:gd name="connsiteY17" fmla="*/ 892389 h 2819400"/>
                <a:gd name="connsiteX18" fmla="*/ 749317 w 2819400"/>
                <a:gd name="connsiteY18" fmla="*/ 909661 h 2819400"/>
                <a:gd name="connsiteX19" fmla="*/ 687550 w 2819400"/>
                <a:gd name="connsiteY19" fmla="*/ 1004175 h 2819400"/>
                <a:gd name="connsiteX20" fmla="*/ 674871 w 2819400"/>
                <a:gd name="connsiteY20" fmla="*/ 1030626 h 2819400"/>
                <a:gd name="connsiteX21" fmla="*/ 519777 w 2819400"/>
                <a:gd name="connsiteY21" fmla="*/ 967963 h 2819400"/>
                <a:gd name="connsiteX22" fmla="*/ 462687 w 2819400"/>
                <a:gd name="connsiteY22" fmla="*/ 1109266 h 2819400"/>
                <a:gd name="connsiteX23" fmla="*/ 616892 w 2819400"/>
                <a:gd name="connsiteY23" fmla="*/ 1171569 h 2819400"/>
                <a:gd name="connsiteX24" fmla="*/ 614115 w 2819400"/>
                <a:gd name="connsiteY24" fmla="*/ 1179584 h 2819400"/>
                <a:gd name="connsiteX25" fmla="*/ 590611 w 2819400"/>
                <a:gd name="connsiteY25" fmla="*/ 1286378 h 2819400"/>
                <a:gd name="connsiteX26" fmla="*/ 586601 w 2819400"/>
                <a:gd name="connsiteY26" fmla="*/ 1333500 h 2819400"/>
                <a:gd name="connsiteX27" fmla="*/ 419100 w 2819400"/>
                <a:gd name="connsiteY27" fmla="*/ 1333500 h 2819400"/>
                <a:gd name="connsiteX28" fmla="*/ 419100 w 2819400"/>
                <a:gd name="connsiteY28" fmla="*/ 1485900 h 2819400"/>
                <a:gd name="connsiteX29" fmla="*/ 585667 w 2819400"/>
                <a:gd name="connsiteY29" fmla="*/ 1485900 h 2819400"/>
                <a:gd name="connsiteX30" fmla="*/ 586271 w 2819400"/>
                <a:gd name="connsiteY30" fmla="*/ 1499335 h 2819400"/>
                <a:gd name="connsiteX31" fmla="*/ 604381 w 2819400"/>
                <a:gd name="connsiteY31" fmla="*/ 1603015 h 2819400"/>
                <a:gd name="connsiteX32" fmla="*/ 623507 w 2819400"/>
                <a:gd name="connsiteY32" fmla="*/ 1660639 h 2819400"/>
                <a:gd name="connsiteX33" fmla="*/ 468074 w 2819400"/>
                <a:gd name="connsiteY33" fmla="*/ 1726616 h 2819400"/>
                <a:gd name="connsiteX34" fmla="*/ 527622 w 2819400"/>
                <a:gd name="connsiteY34" fmla="*/ 1866901 h 2819400"/>
                <a:gd name="connsiteX35" fmla="*/ 683091 w 2819400"/>
                <a:gd name="connsiteY35" fmla="*/ 1800908 h 2819400"/>
                <a:gd name="connsiteX36" fmla="*/ 713905 w 2819400"/>
                <a:gd name="connsiteY36" fmla="*/ 1858905 h 2819400"/>
                <a:gd name="connsiteX37" fmla="*/ 776434 w 2819400"/>
                <a:gd name="connsiteY37" fmla="*/ 1943602 h 2819400"/>
                <a:gd name="connsiteX38" fmla="*/ 782287 w 2819400"/>
                <a:gd name="connsiteY38" fmla="*/ 1949711 h 2819400"/>
                <a:gd name="connsiteX39" fmla="*/ 666758 w 2819400"/>
                <a:gd name="connsiteY39" fmla="*/ 2069345 h 2819400"/>
                <a:gd name="connsiteX40" fmla="*/ 776385 w 2819400"/>
                <a:gd name="connsiteY40" fmla="*/ 2175211 h 2819400"/>
                <a:gd name="connsiteX41" fmla="*/ 892759 w 2819400"/>
                <a:gd name="connsiteY41" fmla="*/ 2054702 h 2819400"/>
                <a:gd name="connsiteX42" fmla="*/ 933621 w 2819400"/>
                <a:gd name="connsiteY42" fmla="*/ 2087532 h 2819400"/>
                <a:gd name="connsiteX43" fmla="*/ 1027223 w 2819400"/>
                <a:gd name="connsiteY43" fmla="*/ 2144281 h 2819400"/>
                <a:gd name="connsiteX44" fmla="*/ 1030176 w 2819400"/>
                <a:gd name="connsiteY44" fmla="*/ 2145640 h 2819400"/>
                <a:gd name="connsiteX45" fmla="*/ 967963 w 2819400"/>
                <a:gd name="connsiteY45" fmla="*/ 2299623 h 2819400"/>
                <a:gd name="connsiteX46" fmla="*/ 1109266 w 2819400"/>
                <a:gd name="connsiteY46" fmla="*/ 2356713 h 2819400"/>
                <a:gd name="connsiteX47" fmla="*/ 1171569 w 2819400"/>
                <a:gd name="connsiteY47" fmla="*/ 2202508 h 2819400"/>
                <a:gd name="connsiteX48" fmla="*/ 1179584 w 2819400"/>
                <a:gd name="connsiteY48" fmla="*/ 2205285 h 2819400"/>
                <a:gd name="connsiteX49" fmla="*/ 1260524 w 2819400"/>
                <a:gd name="connsiteY49" fmla="*/ 2224452 h 2819400"/>
                <a:gd name="connsiteX50" fmla="*/ 1333500 w 2819400"/>
                <a:gd name="connsiteY50" fmla="*/ 2230522 h 2819400"/>
                <a:gd name="connsiteX51" fmla="*/ 1333500 w 2819400"/>
                <a:gd name="connsiteY51" fmla="*/ 2400300 h 2819400"/>
                <a:gd name="connsiteX52" fmla="*/ 1485900 w 2819400"/>
                <a:gd name="connsiteY52" fmla="*/ 2400300 h 2819400"/>
                <a:gd name="connsiteX53" fmla="*/ 1485900 w 2819400"/>
                <a:gd name="connsiteY53" fmla="*/ 2230755 h 2819400"/>
                <a:gd name="connsiteX54" fmla="*/ 1581759 w 2819400"/>
                <a:gd name="connsiteY54" fmla="*/ 2219846 h 2819400"/>
                <a:gd name="connsiteX55" fmla="*/ 1659992 w 2819400"/>
                <a:gd name="connsiteY55" fmla="*/ 2194370 h 2819400"/>
                <a:gd name="connsiteX56" fmla="*/ 1726616 w 2819400"/>
                <a:gd name="connsiteY56" fmla="*/ 2351326 h 2819400"/>
                <a:gd name="connsiteX57" fmla="*/ 1866901 w 2819400"/>
                <a:gd name="connsiteY57" fmla="*/ 2291779 h 2819400"/>
                <a:gd name="connsiteX58" fmla="*/ 1801686 w 2819400"/>
                <a:gd name="connsiteY58" fmla="*/ 2138142 h 2819400"/>
                <a:gd name="connsiteX59" fmla="*/ 1824391 w 2819400"/>
                <a:gd name="connsiteY59" fmla="*/ 2126566 h 2819400"/>
                <a:gd name="connsiteX60" fmla="*/ 1914968 w 2819400"/>
                <a:gd name="connsiteY60" fmla="*/ 2065997 h 2819400"/>
                <a:gd name="connsiteX61" fmla="*/ 1948797 w 2819400"/>
                <a:gd name="connsiteY61" fmla="*/ 2036230 h 2819400"/>
                <a:gd name="connsiteX62" fmla="*/ 2069345 w 2819400"/>
                <a:gd name="connsiteY62" fmla="*/ 2152642 h 2819400"/>
                <a:gd name="connsiteX63" fmla="*/ 2175211 w 2819400"/>
                <a:gd name="connsiteY63" fmla="*/ 2043015 h 2819400"/>
                <a:gd name="connsiteX64" fmla="*/ 2055085 w 2819400"/>
                <a:gd name="connsiteY64" fmla="*/ 1927011 h 2819400"/>
                <a:gd name="connsiteX65" fmla="*/ 2070083 w 2819400"/>
                <a:gd name="connsiteY65" fmla="*/ 1909739 h 2819400"/>
                <a:gd name="connsiteX66" fmla="*/ 2131851 w 2819400"/>
                <a:gd name="connsiteY66" fmla="*/ 1815225 h 2819400"/>
                <a:gd name="connsiteX67" fmla="*/ 2144529 w 2819400"/>
                <a:gd name="connsiteY67" fmla="*/ 1788775 h 2819400"/>
                <a:gd name="connsiteX68" fmla="*/ 2299623 w 2819400"/>
                <a:gd name="connsiteY68" fmla="*/ 1851437 h 2819400"/>
                <a:gd name="connsiteX69" fmla="*/ 2356713 w 2819400"/>
                <a:gd name="connsiteY69" fmla="*/ 1710134 h 2819400"/>
                <a:gd name="connsiteX70" fmla="*/ 2202508 w 2819400"/>
                <a:gd name="connsiteY70" fmla="*/ 1647831 h 2819400"/>
                <a:gd name="connsiteX71" fmla="*/ 2205285 w 2819400"/>
                <a:gd name="connsiteY71" fmla="*/ 1639816 h 2819400"/>
                <a:gd name="connsiteX72" fmla="*/ 2228789 w 2819400"/>
                <a:gd name="connsiteY72" fmla="*/ 1533022 h 2819400"/>
                <a:gd name="connsiteX73" fmla="*/ 2232799 w 2819400"/>
                <a:gd name="connsiteY73" fmla="*/ 1485900 h 2819400"/>
                <a:gd name="connsiteX74" fmla="*/ 2400300 w 2819400"/>
                <a:gd name="connsiteY74" fmla="*/ 1485900 h 2819400"/>
                <a:gd name="connsiteX75" fmla="*/ 2400300 w 2819400"/>
                <a:gd name="connsiteY75" fmla="*/ 1333500 h 2819400"/>
                <a:gd name="connsiteX76" fmla="*/ 2233733 w 2819400"/>
                <a:gd name="connsiteY76" fmla="*/ 1333500 h 2819400"/>
                <a:gd name="connsiteX77" fmla="*/ 2233129 w 2819400"/>
                <a:gd name="connsiteY77" fmla="*/ 1320065 h 2819400"/>
                <a:gd name="connsiteX78" fmla="*/ 2215019 w 2819400"/>
                <a:gd name="connsiteY78" fmla="*/ 1216385 h 2819400"/>
                <a:gd name="connsiteX79" fmla="*/ 2195893 w 2819400"/>
                <a:gd name="connsiteY79" fmla="*/ 1158761 h 2819400"/>
                <a:gd name="connsiteX80" fmla="*/ 2351326 w 2819400"/>
                <a:gd name="connsiteY80" fmla="*/ 1092784 h 2819400"/>
                <a:gd name="connsiteX81" fmla="*/ 2291778 w 2819400"/>
                <a:gd name="connsiteY81" fmla="*/ 952499 h 2819400"/>
                <a:gd name="connsiteX82" fmla="*/ 2136309 w 2819400"/>
                <a:gd name="connsiteY82" fmla="*/ 1018492 h 2819400"/>
                <a:gd name="connsiteX83" fmla="*/ 2105495 w 2819400"/>
                <a:gd name="connsiteY83" fmla="*/ 960495 h 2819400"/>
                <a:gd name="connsiteX84" fmla="*/ 2042966 w 2819400"/>
                <a:gd name="connsiteY84" fmla="*/ 875798 h 2819400"/>
                <a:gd name="connsiteX85" fmla="*/ 2037113 w 2819400"/>
                <a:gd name="connsiteY85" fmla="*/ 869689 h 2819400"/>
                <a:gd name="connsiteX86" fmla="*/ 2152642 w 2819400"/>
                <a:gd name="connsiteY86" fmla="*/ 750055 h 2819400"/>
                <a:gd name="connsiteX87" fmla="*/ 2043015 w 2819400"/>
                <a:gd name="connsiteY87" fmla="*/ 644189 h 2819400"/>
                <a:gd name="connsiteX88" fmla="*/ 1926641 w 2819400"/>
                <a:gd name="connsiteY88" fmla="*/ 764698 h 2819400"/>
                <a:gd name="connsiteX89" fmla="*/ 1885779 w 2819400"/>
                <a:gd name="connsiteY89" fmla="*/ 731868 h 2819400"/>
                <a:gd name="connsiteX90" fmla="*/ 1792177 w 2819400"/>
                <a:gd name="connsiteY90" fmla="*/ 675118 h 2819400"/>
                <a:gd name="connsiteX91" fmla="*/ 1789224 w 2819400"/>
                <a:gd name="connsiteY91" fmla="*/ 673760 h 2819400"/>
                <a:gd name="connsiteX92" fmla="*/ 1851437 w 2819400"/>
                <a:gd name="connsiteY92" fmla="*/ 519777 h 2819400"/>
                <a:gd name="connsiteX93" fmla="*/ 1710134 w 2819400"/>
                <a:gd name="connsiteY93" fmla="*/ 462687 h 2819400"/>
                <a:gd name="connsiteX94" fmla="*/ 1647831 w 2819400"/>
                <a:gd name="connsiteY94" fmla="*/ 616892 h 2819400"/>
                <a:gd name="connsiteX95" fmla="*/ 1639816 w 2819400"/>
                <a:gd name="connsiteY95" fmla="*/ 614115 h 2819400"/>
                <a:gd name="connsiteX96" fmla="*/ 1558876 w 2819400"/>
                <a:gd name="connsiteY96" fmla="*/ 594948 h 2819400"/>
                <a:gd name="connsiteX97" fmla="*/ 1485900 w 2819400"/>
                <a:gd name="connsiteY97" fmla="*/ 588878 h 2819400"/>
                <a:gd name="connsiteX98" fmla="*/ 1485900 w 2819400"/>
                <a:gd name="connsiteY98" fmla="*/ 419100 h 2819400"/>
                <a:gd name="connsiteX99" fmla="*/ 0 w 2819400"/>
                <a:gd name="connsiteY99" fmla="*/ 0 h 2819400"/>
                <a:gd name="connsiteX100" fmla="*/ 2819400 w 2819400"/>
                <a:gd name="connsiteY100" fmla="*/ 0 h 2819400"/>
                <a:gd name="connsiteX101" fmla="*/ 2819400 w 2819400"/>
                <a:gd name="connsiteY101" fmla="*/ 2819400 h 2819400"/>
                <a:gd name="connsiteX102" fmla="*/ 0 w 2819400"/>
                <a:gd name="connsiteY102" fmla="*/ 2819400 h 28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819400" h="2819400">
                  <a:moveTo>
                    <a:pt x="1409700" y="952500"/>
                  </a:moveTo>
                  <a:cubicBezTo>
                    <a:pt x="1662205" y="952500"/>
                    <a:pt x="1866900" y="1157195"/>
                    <a:pt x="1866900" y="1409700"/>
                  </a:cubicBezTo>
                  <a:cubicBezTo>
                    <a:pt x="1866900" y="1662205"/>
                    <a:pt x="1662205" y="1866900"/>
                    <a:pt x="1409700" y="1866900"/>
                  </a:cubicBezTo>
                  <a:cubicBezTo>
                    <a:pt x="1157195" y="1866900"/>
                    <a:pt x="952500" y="1662205"/>
                    <a:pt x="952500" y="1409700"/>
                  </a:cubicBezTo>
                  <a:cubicBezTo>
                    <a:pt x="952500" y="1157195"/>
                    <a:pt x="1157195" y="952500"/>
                    <a:pt x="1409700" y="952500"/>
                  </a:cubicBezTo>
                  <a:close/>
                  <a:moveTo>
                    <a:pt x="1333500" y="419100"/>
                  </a:moveTo>
                  <a:lnTo>
                    <a:pt x="1333500" y="588645"/>
                  </a:lnTo>
                  <a:lnTo>
                    <a:pt x="1237641" y="599554"/>
                  </a:lnTo>
                  <a:lnTo>
                    <a:pt x="1159408" y="625030"/>
                  </a:lnTo>
                  <a:lnTo>
                    <a:pt x="1092784" y="468074"/>
                  </a:lnTo>
                  <a:lnTo>
                    <a:pt x="952499" y="527622"/>
                  </a:lnTo>
                  <a:lnTo>
                    <a:pt x="1017714" y="681258"/>
                  </a:lnTo>
                  <a:lnTo>
                    <a:pt x="995010" y="692834"/>
                  </a:lnTo>
                  <a:cubicBezTo>
                    <a:pt x="963601" y="710974"/>
                    <a:pt x="933332" y="731197"/>
                    <a:pt x="904432" y="753403"/>
                  </a:cubicBezTo>
                  <a:lnTo>
                    <a:pt x="870603" y="783170"/>
                  </a:lnTo>
                  <a:lnTo>
                    <a:pt x="750055" y="666758"/>
                  </a:lnTo>
                  <a:lnTo>
                    <a:pt x="644189" y="776385"/>
                  </a:lnTo>
                  <a:lnTo>
                    <a:pt x="764315" y="892389"/>
                  </a:lnTo>
                  <a:lnTo>
                    <a:pt x="749317" y="909661"/>
                  </a:lnTo>
                  <a:cubicBezTo>
                    <a:pt x="726820" y="939410"/>
                    <a:pt x="706153" y="970948"/>
                    <a:pt x="687550" y="1004175"/>
                  </a:cubicBezTo>
                  <a:lnTo>
                    <a:pt x="674871" y="1030626"/>
                  </a:lnTo>
                  <a:lnTo>
                    <a:pt x="519777" y="967963"/>
                  </a:lnTo>
                  <a:lnTo>
                    <a:pt x="462687" y="1109266"/>
                  </a:lnTo>
                  <a:lnTo>
                    <a:pt x="616892" y="1171569"/>
                  </a:lnTo>
                  <a:lnTo>
                    <a:pt x="614115" y="1179584"/>
                  </a:lnTo>
                  <a:cubicBezTo>
                    <a:pt x="603822" y="1215010"/>
                    <a:pt x="596017" y="1250677"/>
                    <a:pt x="590611" y="1286378"/>
                  </a:cubicBezTo>
                  <a:lnTo>
                    <a:pt x="586601" y="1333500"/>
                  </a:lnTo>
                  <a:lnTo>
                    <a:pt x="419100" y="1333500"/>
                  </a:lnTo>
                  <a:lnTo>
                    <a:pt x="419100" y="1485900"/>
                  </a:lnTo>
                  <a:lnTo>
                    <a:pt x="585667" y="1485900"/>
                  </a:lnTo>
                  <a:lnTo>
                    <a:pt x="586271" y="1499335"/>
                  </a:lnTo>
                  <a:cubicBezTo>
                    <a:pt x="590113" y="1534344"/>
                    <a:pt x="596179" y="1568973"/>
                    <a:pt x="604381" y="1603015"/>
                  </a:cubicBezTo>
                  <a:lnTo>
                    <a:pt x="623507" y="1660639"/>
                  </a:lnTo>
                  <a:lnTo>
                    <a:pt x="468074" y="1726616"/>
                  </a:lnTo>
                  <a:lnTo>
                    <a:pt x="527622" y="1866901"/>
                  </a:lnTo>
                  <a:lnTo>
                    <a:pt x="683091" y="1800908"/>
                  </a:lnTo>
                  <a:lnTo>
                    <a:pt x="713905" y="1858905"/>
                  </a:lnTo>
                  <a:cubicBezTo>
                    <a:pt x="732875" y="1888345"/>
                    <a:pt x="753748" y="1916647"/>
                    <a:pt x="776434" y="1943602"/>
                  </a:cubicBezTo>
                  <a:lnTo>
                    <a:pt x="782287" y="1949711"/>
                  </a:lnTo>
                  <a:lnTo>
                    <a:pt x="666758" y="2069345"/>
                  </a:lnTo>
                  <a:lnTo>
                    <a:pt x="776385" y="2175211"/>
                  </a:lnTo>
                  <a:lnTo>
                    <a:pt x="892759" y="2054702"/>
                  </a:lnTo>
                  <a:lnTo>
                    <a:pt x="933621" y="2087532"/>
                  </a:lnTo>
                  <a:cubicBezTo>
                    <a:pt x="963213" y="2108277"/>
                    <a:pt x="994443" y="2127263"/>
                    <a:pt x="1027223" y="2144281"/>
                  </a:cubicBezTo>
                  <a:lnTo>
                    <a:pt x="1030176" y="2145640"/>
                  </a:lnTo>
                  <a:lnTo>
                    <a:pt x="967963" y="2299623"/>
                  </a:lnTo>
                  <a:lnTo>
                    <a:pt x="1109266" y="2356713"/>
                  </a:lnTo>
                  <a:lnTo>
                    <a:pt x="1171569" y="2202508"/>
                  </a:lnTo>
                  <a:lnTo>
                    <a:pt x="1179584" y="2205285"/>
                  </a:lnTo>
                  <a:cubicBezTo>
                    <a:pt x="1206456" y="2213093"/>
                    <a:pt x="1233465" y="2219469"/>
                    <a:pt x="1260524" y="2224452"/>
                  </a:cubicBezTo>
                  <a:lnTo>
                    <a:pt x="1333500" y="2230522"/>
                  </a:lnTo>
                  <a:lnTo>
                    <a:pt x="1333500" y="2400300"/>
                  </a:lnTo>
                  <a:lnTo>
                    <a:pt x="1485900" y="2400300"/>
                  </a:lnTo>
                  <a:lnTo>
                    <a:pt x="1485900" y="2230755"/>
                  </a:lnTo>
                  <a:lnTo>
                    <a:pt x="1581759" y="2219846"/>
                  </a:lnTo>
                  <a:lnTo>
                    <a:pt x="1659992" y="2194370"/>
                  </a:lnTo>
                  <a:lnTo>
                    <a:pt x="1726616" y="2351326"/>
                  </a:lnTo>
                  <a:lnTo>
                    <a:pt x="1866901" y="2291779"/>
                  </a:lnTo>
                  <a:lnTo>
                    <a:pt x="1801686" y="2138142"/>
                  </a:lnTo>
                  <a:lnTo>
                    <a:pt x="1824391" y="2126566"/>
                  </a:lnTo>
                  <a:cubicBezTo>
                    <a:pt x="1855799" y="2108425"/>
                    <a:pt x="1886069" y="2088203"/>
                    <a:pt x="1914968" y="2065997"/>
                  </a:cubicBezTo>
                  <a:lnTo>
                    <a:pt x="1948797" y="2036230"/>
                  </a:lnTo>
                  <a:lnTo>
                    <a:pt x="2069345" y="2152642"/>
                  </a:lnTo>
                  <a:lnTo>
                    <a:pt x="2175211" y="2043015"/>
                  </a:lnTo>
                  <a:lnTo>
                    <a:pt x="2055085" y="1927011"/>
                  </a:lnTo>
                  <a:lnTo>
                    <a:pt x="2070083" y="1909739"/>
                  </a:lnTo>
                  <a:cubicBezTo>
                    <a:pt x="2092580" y="1879990"/>
                    <a:pt x="2113247" y="1848452"/>
                    <a:pt x="2131851" y="1815225"/>
                  </a:cubicBezTo>
                  <a:lnTo>
                    <a:pt x="2144529" y="1788775"/>
                  </a:lnTo>
                  <a:lnTo>
                    <a:pt x="2299623" y="1851437"/>
                  </a:lnTo>
                  <a:lnTo>
                    <a:pt x="2356713" y="1710134"/>
                  </a:lnTo>
                  <a:lnTo>
                    <a:pt x="2202508" y="1647831"/>
                  </a:lnTo>
                  <a:lnTo>
                    <a:pt x="2205285" y="1639816"/>
                  </a:lnTo>
                  <a:cubicBezTo>
                    <a:pt x="2215578" y="1604389"/>
                    <a:pt x="2223384" y="1568723"/>
                    <a:pt x="2228789" y="1533022"/>
                  </a:cubicBezTo>
                  <a:lnTo>
                    <a:pt x="2232799" y="1485900"/>
                  </a:lnTo>
                  <a:lnTo>
                    <a:pt x="2400300" y="1485900"/>
                  </a:lnTo>
                  <a:lnTo>
                    <a:pt x="2400300" y="1333500"/>
                  </a:lnTo>
                  <a:lnTo>
                    <a:pt x="2233733" y="1333500"/>
                  </a:lnTo>
                  <a:lnTo>
                    <a:pt x="2233129" y="1320065"/>
                  </a:lnTo>
                  <a:cubicBezTo>
                    <a:pt x="2229287" y="1285056"/>
                    <a:pt x="2223221" y="1250427"/>
                    <a:pt x="2215019" y="1216385"/>
                  </a:cubicBezTo>
                  <a:lnTo>
                    <a:pt x="2195893" y="1158761"/>
                  </a:lnTo>
                  <a:lnTo>
                    <a:pt x="2351326" y="1092784"/>
                  </a:lnTo>
                  <a:lnTo>
                    <a:pt x="2291778" y="952499"/>
                  </a:lnTo>
                  <a:lnTo>
                    <a:pt x="2136309" y="1018492"/>
                  </a:lnTo>
                  <a:lnTo>
                    <a:pt x="2105495" y="960495"/>
                  </a:lnTo>
                  <a:cubicBezTo>
                    <a:pt x="2086525" y="931054"/>
                    <a:pt x="2065652" y="902753"/>
                    <a:pt x="2042966" y="875798"/>
                  </a:cubicBezTo>
                  <a:lnTo>
                    <a:pt x="2037113" y="869689"/>
                  </a:lnTo>
                  <a:lnTo>
                    <a:pt x="2152642" y="750055"/>
                  </a:lnTo>
                  <a:lnTo>
                    <a:pt x="2043015" y="644189"/>
                  </a:lnTo>
                  <a:lnTo>
                    <a:pt x="1926641" y="764698"/>
                  </a:lnTo>
                  <a:lnTo>
                    <a:pt x="1885779" y="731868"/>
                  </a:lnTo>
                  <a:cubicBezTo>
                    <a:pt x="1856188" y="711122"/>
                    <a:pt x="1824957" y="692137"/>
                    <a:pt x="1792177" y="675118"/>
                  </a:cubicBezTo>
                  <a:lnTo>
                    <a:pt x="1789224" y="673760"/>
                  </a:lnTo>
                  <a:lnTo>
                    <a:pt x="1851437" y="519777"/>
                  </a:lnTo>
                  <a:lnTo>
                    <a:pt x="1710134" y="462687"/>
                  </a:lnTo>
                  <a:lnTo>
                    <a:pt x="1647831" y="616892"/>
                  </a:lnTo>
                  <a:lnTo>
                    <a:pt x="1639816" y="614115"/>
                  </a:lnTo>
                  <a:cubicBezTo>
                    <a:pt x="1612945" y="606307"/>
                    <a:pt x="1585935" y="599931"/>
                    <a:pt x="1558876" y="594948"/>
                  </a:cubicBezTo>
                  <a:lnTo>
                    <a:pt x="1485900" y="588878"/>
                  </a:lnTo>
                  <a:lnTo>
                    <a:pt x="1485900" y="419100"/>
                  </a:lnTo>
                  <a:close/>
                  <a:moveTo>
                    <a:pt x="0" y="0"/>
                  </a:moveTo>
                  <a:lnTo>
                    <a:pt x="2819400" y="0"/>
                  </a:lnTo>
                  <a:lnTo>
                    <a:pt x="2819400" y="2819400"/>
                  </a:lnTo>
                  <a:lnTo>
                    <a:pt x="0" y="28194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ctr" anchorCtr="0"/>
            <a:lstStyle/>
            <a:p>
              <a:pPr algn="ctr" defTabSz="685598"/>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3723435" y="4960690"/>
              <a:ext cx="1163607" cy="389492"/>
            </a:xfrm>
            <a:prstGeom prst="rect">
              <a:avLst/>
            </a:prstGeom>
            <a:noFill/>
          </p:spPr>
          <p:txBody>
            <a:bodyPr wrap="none" rtlCol="0">
              <a:spAutoFit/>
            </a:bodyPr>
            <a:lstStyle/>
            <a:p>
              <a:pPr algn="ctr"/>
              <a:r>
                <a:rPr lang="en-US" dirty="0" smtClean="0">
                  <a:latin typeface="+mn-lt"/>
                </a:rPr>
                <a:t>Resource</a:t>
              </a:r>
              <a:endParaRPr lang="en-US" dirty="0">
                <a:latin typeface="+mn-lt"/>
              </a:endParaRPr>
            </a:p>
          </p:txBody>
        </p:sp>
      </p:grpSp>
      <p:grpSp>
        <p:nvGrpSpPr>
          <p:cNvPr id="49" name="Group 48"/>
          <p:cNvGrpSpPr/>
          <p:nvPr>
            <p:custDataLst>
              <p:custData r:id="rId3"/>
            </p:custDataLst>
          </p:nvPr>
        </p:nvGrpSpPr>
        <p:grpSpPr>
          <a:xfrm>
            <a:off x="5589576" y="669314"/>
            <a:ext cx="1257321" cy="1083897"/>
            <a:chOff x="5350643" y="4945062"/>
            <a:chExt cx="1944624" cy="1676400"/>
          </a:xfrm>
        </p:grpSpPr>
        <p:sp>
          <p:nvSpPr>
            <p:cNvPr id="50" name="Isosceles Triangle 49"/>
            <p:cNvSpPr/>
            <p:nvPr/>
          </p:nvSpPr>
          <p:spPr bwMode="auto">
            <a:xfrm>
              <a:off x="5350643" y="4945062"/>
              <a:ext cx="1944624" cy="1676400"/>
            </a:xfrm>
            <a:prstGeom prst="triangle">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anchor="t" anchorCtr="0"/>
            <a:lstStyle/>
            <a:p>
              <a:pPr algn="ctr" defTabSz="685598"/>
              <a:endParaRPr lang="en-US" sz="1176" spc="-75" dirty="0">
                <a:gradFill>
                  <a:gsLst>
                    <a:gs pos="0">
                      <a:schemeClr val="bg1"/>
                    </a:gs>
                    <a:gs pos="100000">
                      <a:schemeClr val="bg1"/>
                    </a:gs>
                  </a:gsLst>
                  <a:lin ang="5400000" scaled="0"/>
                </a:gradFill>
                <a:ea typeface="Segoe UI" pitchFamily="34" charset="0"/>
                <a:cs typeface="Segoe UI" pitchFamily="34" charset="0"/>
              </a:endParaRPr>
            </a:p>
          </p:txBody>
        </p:sp>
        <p:sp>
          <p:nvSpPr>
            <p:cNvPr id="51" name="Freeform 50"/>
            <p:cNvSpPr/>
            <p:nvPr/>
          </p:nvSpPr>
          <p:spPr bwMode="auto">
            <a:xfrm>
              <a:off x="5818065" y="5611496"/>
              <a:ext cx="504890" cy="912700"/>
            </a:xfrm>
            <a:custGeom>
              <a:avLst/>
              <a:gdLst>
                <a:gd name="connsiteX0" fmla="*/ 993982 w 1938076"/>
                <a:gd name="connsiteY0" fmla="*/ 706921 h 3503500"/>
                <a:gd name="connsiteX1" fmla="*/ 1086674 w 1938076"/>
                <a:gd name="connsiteY1" fmla="*/ 727483 h 3503500"/>
                <a:gd name="connsiteX2" fmla="*/ 1094101 w 1938076"/>
                <a:gd name="connsiteY2" fmla="*/ 732985 h 3503500"/>
                <a:gd name="connsiteX3" fmla="*/ 1160279 w 1938076"/>
                <a:gd name="connsiteY3" fmla="*/ 756535 h 3503500"/>
                <a:gd name="connsiteX4" fmla="*/ 1840549 w 1938076"/>
                <a:gd name="connsiteY4" fmla="*/ 1149289 h 3503500"/>
                <a:gd name="connsiteX5" fmla="*/ 1917119 w 1938076"/>
                <a:gd name="connsiteY5" fmla="*/ 1389312 h 3503500"/>
                <a:gd name="connsiteX6" fmla="*/ 1670967 w 1938076"/>
                <a:gd name="connsiteY6" fmla="*/ 1443012 h 3503500"/>
                <a:gd name="connsiteX7" fmla="*/ 1232107 w 1938076"/>
                <a:gd name="connsiteY7" fmla="*/ 1189637 h 3503500"/>
                <a:gd name="connsiteX8" fmla="*/ 1232107 w 1938076"/>
                <a:gd name="connsiteY8" fmla="*/ 2071559 h 3503500"/>
                <a:gd name="connsiteX9" fmla="*/ 1227350 w 1938076"/>
                <a:gd name="connsiteY9" fmla="*/ 2123404 h 3503500"/>
                <a:gd name="connsiteX10" fmla="*/ 1232751 w 1938076"/>
                <a:gd name="connsiteY10" fmla="*/ 2127041 h 3503500"/>
                <a:gd name="connsiteX11" fmla="*/ 1296572 w 1938076"/>
                <a:gd name="connsiteY11" fmla="*/ 2207782 h 3503500"/>
                <a:gd name="connsiteX12" fmla="*/ 1848074 w 1938076"/>
                <a:gd name="connsiteY12" fmla="*/ 3163012 h 3503500"/>
                <a:gd name="connsiteX13" fmla="*/ 1814681 w 1938076"/>
                <a:gd name="connsiteY13" fmla="*/ 3484401 h 3503500"/>
                <a:gd name="connsiteX14" fmla="*/ 1519652 w 1938076"/>
                <a:gd name="connsiteY14" fmla="*/ 3352626 h 3503500"/>
                <a:gd name="connsiteX15" fmla="*/ 982472 w 1938076"/>
                <a:gd name="connsiteY15" fmla="*/ 2422203 h 3503500"/>
                <a:gd name="connsiteX16" fmla="*/ 445292 w 1938076"/>
                <a:gd name="connsiteY16" fmla="*/ 3352626 h 3503500"/>
                <a:gd name="connsiteX17" fmla="*/ 150263 w 1938076"/>
                <a:gd name="connsiteY17" fmla="*/ 3484402 h 3503500"/>
                <a:gd name="connsiteX18" fmla="*/ 116869 w 1938076"/>
                <a:gd name="connsiteY18" fmla="*/ 3163011 h 3503500"/>
                <a:gd name="connsiteX19" fmla="*/ 668372 w 1938076"/>
                <a:gd name="connsiteY19" fmla="*/ 2207783 h 3503500"/>
                <a:gd name="connsiteX20" fmla="*/ 714653 w 1938076"/>
                <a:gd name="connsiteY20" fmla="*/ 2144671 h 3503500"/>
                <a:gd name="connsiteX21" fmla="*/ 759050 w 1938076"/>
                <a:gd name="connsiteY21" fmla="*/ 2106359 h 3503500"/>
                <a:gd name="connsiteX22" fmla="*/ 755857 w 1938076"/>
                <a:gd name="connsiteY22" fmla="*/ 2071559 h 3503500"/>
                <a:gd name="connsiteX23" fmla="*/ 755857 w 1938076"/>
                <a:gd name="connsiteY23" fmla="*/ 1160834 h 3503500"/>
                <a:gd name="connsiteX24" fmla="*/ 267109 w 1938076"/>
                <a:gd name="connsiteY24" fmla="*/ 1443012 h 3503500"/>
                <a:gd name="connsiteX25" fmla="*/ 20957 w 1938076"/>
                <a:gd name="connsiteY25" fmla="*/ 1389312 h 3503500"/>
                <a:gd name="connsiteX26" fmla="*/ 97527 w 1938076"/>
                <a:gd name="connsiteY26" fmla="*/ 1149289 h 3503500"/>
                <a:gd name="connsiteX27" fmla="*/ 777797 w 1938076"/>
                <a:gd name="connsiteY27" fmla="*/ 756535 h 3503500"/>
                <a:gd name="connsiteX28" fmla="*/ 847265 w 1938076"/>
                <a:gd name="connsiteY28" fmla="*/ 731815 h 3503500"/>
                <a:gd name="connsiteX29" fmla="*/ 893762 w 1938076"/>
                <a:gd name="connsiteY29" fmla="*/ 733060 h 3503500"/>
                <a:gd name="connsiteX30" fmla="*/ 901290 w 1938076"/>
                <a:gd name="connsiteY30" fmla="*/ 727483 h 3503500"/>
                <a:gd name="connsiteX31" fmla="*/ 993982 w 1938076"/>
                <a:gd name="connsiteY31" fmla="*/ 706921 h 3503500"/>
                <a:gd name="connsiteX32" fmla="*/ 993981 w 1938076"/>
                <a:gd name="connsiteY32" fmla="*/ 0 h 3503500"/>
                <a:gd name="connsiteX33" fmla="*/ 1336881 w 1938076"/>
                <a:gd name="connsiteY33" fmla="*/ 342900 h 3503500"/>
                <a:gd name="connsiteX34" fmla="*/ 993981 w 1938076"/>
                <a:gd name="connsiteY34" fmla="*/ 685800 h 3503500"/>
                <a:gd name="connsiteX35" fmla="*/ 651081 w 1938076"/>
                <a:gd name="connsiteY35" fmla="*/ 342900 h 3503500"/>
                <a:gd name="connsiteX36" fmla="*/ 993981 w 1938076"/>
                <a:gd name="connsiteY36" fmla="*/ 0 h 35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8076" h="3503500">
                  <a:moveTo>
                    <a:pt x="993982" y="706921"/>
                  </a:moveTo>
                  <a:cubicBezTo>
                    <a:pt x="1026862" y="706921"/>
                    <a:pt x="1058185" y="714243"/>
                    <a:pt x="1086674" y="727483"/>
                  </a:cubicBezTo>
                  <a:lnTo>
                    <a:pt x="1094101" y="732985"/>
                  </a:lnTo>
                  <a:lnTo>
                    <a:pt x="1160279" y="756535"/>
                  </a:lnTo>
                  <a:lnTo>
                    <a:pt x="1840549" y="1149289"/>
                  </a:lnTo>
                  <a:cubicBezTo>
                    <a:pt x="1929657" y="1200736"/>
                    <a:pt x="1963949" y="1308199"/>
                    <a:pt x="1917119" y="1389312"/>
                  </a:cubicBezTo>
                  <a:cubicBezTo>
                    <a:pt x="1870287" y="1470426"/>
                    <a:pt x="1760075" y="1494459"/>
                    <a:pt x="1670967" y="1443012"/>
                  </a:cubicBezTo>
                  <a:lnTo>
                    <a:pt x="1232107" y="1189637"/>
                  </a:lnTo>
                  <a:lnTo>
                    <a:pt x="1232107" y="2071559"/>
                  </a:lnTo>
                  <a:lnTo>
                    <a:pt x="1227350" y="2123404"/>
                  </a:lnTo>
                  <a:lnTo>
                    <a:pt x="1232751" y="2127041"/>
                  </a:lnTo>
                  <a:cubicBezTo>
                    <a:pt x="1256711" y="2149351"/>
                    <a:pt x="1278511" y="2176501"/>
                    <a:pt x="1296572" y="2207782"/>
                  </a:cubicBezTo>
                  <a:lnTo>
                    <a:pt x="1848074" y="3163012"/>
                  </a:lnTo>
                  <a:cubicBezTo>
                    <a:pt x="1920315" y="3288137"/>
                    <a:pt x="1905376" y="3432038"/>
                    <a:pt x="1814681" y="3484401"/>
                  </a:cubicBezTo>
                  <a:cubicBezTo>
                    <a:pt x="1723984" y="3536765"/>
                    <a:pt x="1591893" y="3477752"/>
                    <a:pt x="1519652" y="3352626"/>
                  </a:cubicBezTo>
                  <a:lnTo>
                    <a:pt x="982472" y="2422203"/>
                  </a:lnTo>
                  <a:lnTo>
                    <a:pt x="445292" y="3352626"/>
                  </a:lnTo>
                  <a:cubicBezTo>
                    <a:pt x="373050" y="3477752"/>
                    <a:pt x="240960" y="3536765"/>
                    <a:pt x="150263" y="3484402"/>
                  </a:cubicBezTo>
                  <a:cubicBezTo>
                    <a:pt x="59567" y="3432038"/>
                    <a:pt x="44629" y="3288137"/>
                    <a:pt x="116869" y="3163011"/>
                  </a:cubicBezTo>
                  <a:lnTo>
                    <a:pt x="668372" y="2207783"/>
                  </a:lnTo>
                  <a:cubicBezTo>
                    <a:pt x="681918" y="2184322"/>
                    <a:pt x="697567" y="2163185"/>
                    <a:pt x="714653" y="2144671"/>
                  </a:cubicBezTo>
                  <a:lnTo>
                    <a:pt x="759050" y="2106359"/>
                  </a:lnTo>
                  <a:lnTo>
                    <a:pt x="755857" y="2071559"/>
                  </a:lnTo>
                  <a:lnTo>
                    <a:pt x="755857" y="1160834"/>
                  </a:lnTo>
                  <a:lnTo>
                    <a:pt x="267109" y="1443012"/>
                  </a:lnTo>
                  <a:cubicBezTo>
                    <a:pt x="178001" y="1494459"/>
                    <a:pt x="67789" y="1470426"/>
                    <a:pt x="20957" y="1389312"/>
                  </a:cubicBezTo>
                  <a:cubicBezTo>
                    <a:pt x="-25874" y="1308198"/>
                    <a:pt x="8419" y="1200735"/>
                    <a:pt x="97527" y="1149289"/>
                  </a:cubicBezTo>
                  <a:lnTo>
                    <a:pt x="777797" y="756535"/>
                  </a:lnTo>
                  <a:cubicBezTo>
                    <a:pt x="800074" y="743673"/>
                    <a:pt x="823670" y="735529"/>
                    <a:pt x="847265" y="731815"/>
                  </a:cubicBezTo>
                  <a:lnTo>
                    <a:pt x="893762" y="733060"/>
                  </a:lnTo>
                  <a:lnTo>
                    <a:pt x="901290" y="727483"/>
                  </a:lnTo>
                  <a:cubicBezTo>
                    <a:pt x="929779" y="714243"/>
                    <a:pt x="961102" y="706921"/>
                    <a:pt x="993982" y="706921"/>
                  </a:cubicBezTo>
                  <a:close/>
                  <a:moveTo>
                    <a:pt x="993981" y="0"/>
                  </a:moveTo>
                  <a:cubicBezTo>
                    <a:pt x="1183359" y="0"/>
                    <a:pt x="1336881" y="153522"/>
                    <a:pt x="1336881" y="342900"/>
                  </a:cubicBezTo>
                  <a:cubicBezTo>
                    <a:pt x="1336881" y="532278"/>
                    <a:pt x="1183359" y="685800"/>
                    <a:pt x="993981" y="685800"/>
                  </a:cubicBezTo>
                  <a:cubicBezTo>
                    <a:pt x="804603" y="685800"/>
                    <a:pt x="651081" y="532278"/>
                    <a:pt x="651081" y="342900"/>
                  </a:cubicBezTo>
                  <a:cubicBezTo>
                    <a:pt x="651081" y="153522"/>
                    <a:pt x="804603" y="0"/>
                    <a:pt x="99398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t" anchorCtr="0"/>
            <a:lstStyle/>
            <a:p>
              <a:pPr algn="ctr" defTabSz="685598"/>
              <a:endParaRPr lang="en-US" sz="1176" spc="-75" dirty="0">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51"/>
            <p:cNvSpPr/>
            <p:nvPr/>
          </p:nvSpPr>
          <p:spPr bwMode="auto">
            <a:xfrm>
              <a:off x="6338338" y="5611496"/>
              <a:ext cx="504890" cy="912700"/>
            </a:xfrm>
            <a:custGeom>
              <a:avLst/>
              <a:gdLst>
                <a:gd name="connsiteX0" fmla="*/ 993982 w 1938076"/>
                <a:gd name="connsiteY0" fmla="*/ 706921 h 3503500"/>
                <a:gd name="connsiteX1" fmla="*/ 1086674 w 1938076"/>
                <a:gd name="connsiteY1" fmla="*/ 727483 h 3503500"/>
                <a:gd name="connsiteX2" fmla="*/ 1094101 w 1938076"/>
                <a:gd name="connsiteY2" fmla="*/ 732985 h 3503500"/>
                <a:gd name="connsiteX3" fmla="*/ 1160279 w 1938076"/>
                <a:gd name="connsiteY3" fmla="*/ 756535 h 3503500"/>
                <a:gd name="connsiteX4" fmla="*/ 1840549 w 1938076"/>
                <a:gd name="connsiteY4" fmla="*/ 1149289 h 3503500"/>
                <a:gd name="connsiteX5" fmla="*/ 1917119 w 1938076"/>
                <a:gd name="connsiteY5" fmla="*/ 1389312 h 3503500"/>
                <a:gd name="connsiteX6" fmla="*/ 1670967 w 1938076"/>
                <a:gd name="connsiteY6" fmla="*/ 1443012 h 3503500"/>
                <a:gd name="connsiteX7" fmla="*/ 1232107 w 1938076"/>
                <a:gd name="connsiteY7" fmla="*/ 1189637 h 3503500"/>
                <a:gd name="connsiteX8" fmla="*/ 1232107 w 1938076"/>
                <a:gd name="connsiteY8" fmla="*/ 2071559 h 3503500"/>
                <a:gd name="connsiteX9" fmla="*/ 1227350 w 1938076"/>
                <a:gd name="connsiteY9" fmla="*/ 2123404 h 3503500"/>
                <a:gd name="connsiteX10" fmla="*/ 1232751 w 1938076"/>
                <a:gd name="connsiteY10" fmla="*/ 2127041 h 3503500"/>
                <a:gd name="connsiteX11" fmla="*/ 1296572 w 1938076"/>
                <a:gd name="connsiteY11" fmla="*/ 2207782 h 3503500"/>
                <a:gd name="connsiteX12" fmla="*/ 1848074 w 1938076"/>
                <a:gd name="connsiteY12" fmla="*/ 3163012 h 3503500"/>
                <a:gd name="connsiteX13" fmla="*/ 1814681 w 1938076"/>
                <a:gd name="connsiteY13" fmla="*/ 3484401 h 3503500"/>
                <a:gd name="connsiteX14" fmla="*/ 1519652 w 1938076"/>
                <a:gd name="connsiteY14" fmla="*/ 3352626 h 3503500"/>
                <a:gd name="connsiteX15" fmla="*/ 982472 w 1938076"/>
                <a:gd name="connsiteY15" fmla="*/ 2422203 h 3503500"/>
                <a:gd name="connsiteX16" fmla="*/ 445292 w 1938076"/>
                <a:gd name="connsiteY16" fmla="*/ 3352626 h 3503500"/>
                <a:gd name="connsiteX17" fmla="*/ 150263 w 1938076"/>
                <a:gd name="connsiteY17" fmla="*/ 3484402 h 3503500"/>
                <a:gd name="connsiteX18" fmla="*/ 116869 w 1938076"/>
                <a:gd name="connsiteY18" fmla="*/ 3163011 h 3503500"/>
                <a:gd name="connsiteX19" fmla="*/ 668372 w 1938076"/>
                <a:gd name="connsiteY19" fmla="*/ 2207783 h 3503500"/>
                <a:gd name="connsiteX20" fmla="*/ 714653 w 1938076"/>
                <a:gd name="connsiteY20" fmla="*/ 2144671 h 3503500"/>
                <a:gd name="connsiteX21" fmla="*/ 759050 w 1938076"/>
                <a:gd name="connsiteY21" fmla="*/ 2106359 h 3503500"/>
                <a:gd name="connsiteX22" fmla="*/ 755857 w 1938076"/>
                <a:gd name="connsiteY22" fmla="*/ 2071559 h 3503500"/>
                <a:gd name="connsiteX23" fmla="*/ 755857 w 1938076"/>
                <a:gd name="connsiteY23" fmla="*/ 1160834 h 3503500"/>
                <a:gd name="connsiteX24" fmla="*/ 267109 w 1938076"/>
                <a:gd name="connsiteY24" fmla="*/ 1443012 h 3503500"/>
                <a:gd name="connsiteX25" fmla="*/ 20957 w 1938076"/>
                <a:gd name="connsiteY25" fmla="*/ 1389312 h 3503500"/>
                <a:gd name="connsiteX26" fmla="*/ 97527 w 1938076"/>
                <a:gd name="connsiteY26" fmla="*/ 1149289 h 3503500"/>
                <a:gd name="connsiteX27" fmla="*/ 777797 w 1938076"/>
                <a:gd name="connsiteY27" fmla="*/ 756535 h 3503500"/>
                <a:gd name="connsiteX28" fmla="*/ 847265 w 1938076"/>
                <a:gd name="connsiteY28" fmla="*/ 731815 h 3503500"/>
                <a:gd name="connsiteX29" fmla="*/ 893762 w 1938076"/>
                <a:gd name="connsiteY29" fmla="*/ 733060 h 3503500"/>
                <a:gd name="connsiteX30" fmla="*/ 901290 w 1938076"/>
                <a:gd name="connsiteY30" fmla="*/ 727483 h 3503500"/>
                <a:gd name="connsiteX31" fmla="*/ 993982 w 1938076"/>
                <a:gd name="connsiteY31" fmla="*/ 706921 h 3503500"/>
                <a:gd name="connsiteX32" fmla="*/ 993981 w 1938076"/>
                <a:gd name="connsiteY32" fmla="*/ 0 h 3503500"/>
                <a:gd name="connsiteX33" fmla="*/ 1336881 w 1938076"/>
                <a:gd name="connsiteY33" fmla="*/ 342900 h 3503500"/>
                <a:gd name="connsiteX34" fmla="*/ 993981 w 1938076"/>
                <a:gd name="connsiteY34" fmla="*/ 685800 h 3503500"/>
                <a:gd name="connsiteX35" fmla="*/ 651081 w 1938076"/>
                <a:gd name="connsiteY35" fmla="*/ 342900 h 3503500"/>
                <a:gd name="connsiteX36" fmla="*/ 993981 w 1938076"/>
                <a:gd name="connsiteY36" fmla="*/ 0 h 35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8076" h="3503500">
                  <a:moveTo>
                    <a:pt x="993982" y="706921"/>
                  </a:moveTo>
                  <a:cubicBezTo>
                    <a:pt x="1026862" y="706921"/>
                    <a:pt x="1058185" y="714243"/>
                    <a:pt x="1086674" y="727483"/>
                  </a:cubicBezTo>
                  <a:lnTo>
                    <a:pt x="1094101" y="732985"/>
                  </a:lnTo>
                  <a:lnTo>
                    <a:pt x="1160279" y="756535"/>
                  </a:lnTo>
                  <a:lnTo>
                    <a:pt x="1840549" y="1149289"/>
                  </a:lnTo>
                  <a:cubicBezTo>
                    <a:pt x="1929657" y="1200736"/>
                    <a:pt x="1963949" y="1308199"/>
                    <a:pt x="1917119" y="1389312"/>
                  </a:cubicBezTo>
                  <a:cubicBezTo>
                    <a:pt x="1870287" y="1470426"/>
                    <a:pt x="1760075" y="1494459"/>
                    <a:pt x="1670967" y="1443012"/>
                  </a:cubicBezTo>
                  <a:lnTo>
                    <a:pt x="1232107" y="1189637"/>
                  </a:lnTo>
                  <a:lnTo>
                    <a:pt x="1232107" y="2071559"/>
                  </a:lnTo>
                  <a:lnTo>
                    <a:pt x="1227350" y="2123404"/>
                  </a:lnTo>
                  <a:lnTo>
                    <a:pt x="1232751" y="2127041"/>
                  </a:lnTo>
                  <a:cubicBezTo>
                    <a:pt x="1256711" y="2149351"/>
                    <a:pt x="1278511" y="2176501"/>
                    <a:pt x="1296572" y="2207782"/>
                  </a:cubicBezTo>
                  <a:lnTo>
                    <a:pt x="1848074" y="3163012"/>
                  </a:lnTo>
                  <a:cubicBezTo>
                    <a:pt x="1920315" y="3288137"/>
                    <a:pt x="1905376" y="3432038"/>
                    <a:pt x="1814681" y="3484401"/>
                  </a:cubicBezTo>
                  <a:cubicBezTo>
                    <a:pt x="1723984" y="3536765"/>
                    <a:pt x="1591893" y="3477752"/>
                    <a:pt x="1519652" y="3352626"/>
                  </a:cubicBezTo>
                  <a:lnTo>
                    <a:pt x="982472" y="2422203"/>
                  </a:lnTo>
                  <a:lnTo>
                    <a:pt x="445292" y="3352626"/>
                  </a:lnTo>
                  <a:cubicBezTo>
                    <a:pt x="373050" y="3477752"/>
                    <a:pt x="240960" y="3536765"/>
                    <a:pt x="150263" y="3484402"/>
                  </a:cubicBezTo>
                  <a:cubicBezTo>
                    <a:pt x="59567" y="3432038"/>
                    <a:pt x="44629" y="3288137"/>
                    <a:pt x="116869" y="3163011"/>
                  </a:cubicBezTo>
                  <a:lnTo>
                    <a:pt x="668372" y="2207783"/>
                  </a:lnTo>
                  <a:cubicBezTo>
                    <a:pt x="681918" y="2184322"/>
                    <a:pt x="697567" y="2163185"/>
                    <a:pt x="714653" y="2144671"/>
                  </a:cubicBezTo>
                  <a:lnTo>
                    <a:pt x="759050" y="2106359"/>
                  </a:lnTo>
                  <a:lnTo>
                    <a:pt x="755857" y="2071559"/>
                  </a:lnTo>
                  <a:lnTo>
                    <a:pt x="755857" y="1160834"/>
                  </a:lnTo>
                  <a:lnTo>
                    <a:pt x="267109" y="1443012"/>
                  </a:lnTo>
                  <a:cubicBezTo>
                    <a:pt x="178001" y="1494459"/>
                    <a:pt x="67789" y="1470426"/>
                    <a:pt x="20957" y="1389312"/>
                  </a:cubicBezTo>
                  <a:cubicBezTo>
                    <a:pt x="-25874" y="1308198"/>
                    <a:pt x="8419" y="1200735"/>
                    <a:pt x="97527" y="1149289"/>
                  </a:cubicBezTo>
                  <a:lnTo>
                    <a:pt x="777797" y="756535"/>
                  </a:lnTo>
                  <a:cubicBezTo>
                    <a:pt x="800074" y="743673"/>
                    <a:pt x="823670" y="735529"/>
                    <a:pt x="847265" y="731815"/>
                  </a:cubicBezTo>
                  <a:lnTo>
                    <a:pt x="893762" y="733060"/>
                  </a:lnTo>
                  <a:lnTo>
                    <a:pt x="901290" y="727483"/>
                  </a:lnTo>
                  <a:cubicBezTo>
                    <a:pt x="929779" y="714243"/>
                    <a:pt x="961102" y="706921"/>
                    <a:pt x="993982" y="706921"/>
                  </a:cubicBezTo>
                  <a:close/>
                  <a:moveTo>
                    <a:pt x="993981" y="0"/>
                  </a:moveTo>
                  <a:cubicBezTo>
                    <a:pt x="1183359" y="0"/>
                    <a:pt x="1336881" y="153522"/>
                    <a:pt x="1336881" y="342900"/>
                  </a:cubicBezTo>
                  <a:cubicBezTo>
                    <a:pt x="1336881" y="532278"/>
                    <a:pt x="1183359" y="685800"/>
                    <a:pt x="993981" y="685800"/>
                  </a:cubicBezTo>
                  <a:cubicBezTo>
                    <a:pt x="804603" y="685800"/>
                    <a:pt x="651081" y="532278"/>
                    <a:pt x="651081" y="342900"/>
                  </a:cubicBezTo>
                  <a:cubicBezTo>
                    <a:pt x="651081" y="153522"/>
                    <a:pt x="804603" y="0"/>
                    <a:pt x="99398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t" anchorCtr="0"/>
            <a:lstStyle/>
            <a:p>
              <a:pPr algn="ctr" defTabSz="685598"/>
              <a:endParaRPr lang="en-US" sz="1176" spc="-75"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3" name="Group 22"/>
          <p:cNvGrpSpPr/>
          <p:nvPr>
            <p:custDataLst>
              <p:custData r:id="rId4"/>
            </p:custDataLst>
          </p:nvPr>
        </p:nvGrpSpPr>
        <p:grpSpPr>
          <a:xfrm>
            <a:off x="4358727" y="1753211"/>
            <a:ext cx="3738911" cy="829847"/>
            <a:chOff x="4349965" y="1149118"/>
            <a:chExt cx="3738911" cy="829847"/>
          </a:xfrm>
        </p:grpSpPr>
        <p:sp>
          <p:nvSpPr>
            <p:cNvPr id="24" name="TextBox 23"/>
            <p:cNvSpPr txBox="1"/>
            <p:nvPr/>
          </p:nvSpPr>
          <p:spPr>
            <a:xfrm>
              <a:off x="4769696" y="1149118"/>
              <a:ext cx="2899448" cy="461665"/>
            </a:xfrm>
            <a:prstGeom prst="rect">
              <a:avLst/>
            </a:prstGeom>
            <a:noFill/>
          </p:spPr>
          <p:txBody>
            <a:bodyPr wrap="none" rtlCol="0">
              <a:spAutoFit/>
            </a:bodyPr>
            <a:lstStyle/>
            <a:p>
              <a:pPr algn="ctr"/>
              <a:r>
                <a:rPr lang="en-US" sz="2400" dirty="0" smtClean="0">
                  <a:latin typeface="+mn-lt"/>
                </a:rPr>
                <a:t>authorization server</a:t>
              </a:r>
              <a:endParaRPr lang="en-US" sz="2400" dirty="0">
                <a:latin typeface="+mn-lt"/>
              </a:endParaRPr>
            </a:p>
          </p:txBody>
        </p:sp>
        <p:sp>
          <p:nvSpPr>
            <p:cNvPr id="25" name="Freeform 24"/>
            <p:cNvSpPr/>
            <p:nvPr/>
          </p:nvSpPr>
          <p:spPr bwMode="auto">
            <a:xfrm>
              <a:off x="4349965" y="1549689"/>
              <a:ext cx="3738911" cy="429276"/>
            </a:xfrm>
            <a:custGeom>
              <a:avLst/>
              <a:gdLst>
                <a:gd name="connsiteX0" fmla="*/ 0 w 3037633"/>
                <a:gd name="connsiteY0" fmla="*/ 0 h 429276"/>
                <a:gd name="connsiteX1" fmla="*/ 3037633 w 3037633"/>
                <a:gd name="connsiteY1" fmla="*/ 0 h 429276"/>
                <a:gd name="connsiteX2" fmla="*/ 3037633 w 3037633"/>
                <a:gd name="connsiteY2" fmla="*/ 429276 h 429276"/>
                <a:gd name="connsiteX3" fmla="*/ 2966762 w 3037633"/>
                <a:gd name="connsiteY3" fmla="*/ 429276 h 429276"/>
                <a:gd name="connsiteX4" fmla="*/ 2966762 w 3037633"/>
                <a:gd name="connsiteY4" fmla="*/ 78162 h 429276"/>
                <a:gd name="connsiteX5" fmla="*/ 70870 w 3037633"/>
                <a:gd name="connsiteY5" fmla="*/ 78162 h 429276"/>
                <a:gd name="connsiteX6" fmla="*/ 70870 w 3037633"/>
                <a:gd name="connsiteY6" fmla="*/ 429276 h 429276"/>
                <a:gd name="connsiteX7" fmla="*/ 0 w 3037633"/>
                <a:gd name="connsiteY7" fmla="*/ 429276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7633" h="429276">
                  <a:moveTo>
                    <a:pt x="0" y="0"/>
                  </a:moveTo>
                  <a:lnTo>
                    <a:pt x="3037633" y="0"/>
                  </a:lnTo>
                  <a:lnTo>
                    <a:pt x="3037633" y="429276"/>
                  </a:lnTo>
                  <a:lnTo>
                    <a:pt x="2966762" y="429276"/>
                  </a:lnTo>
                  <a:lnTo>
                    <a:pt x="2966762" y="78162"/>
                  </a:lnTo>
                  <a:lnTo>
                    <a:pt x="70870" y="78162"/>
                  </a:lnTo>
                  <a:lnTo>
                    <a:pt x="70870" y="429276"/>
                  </a:lnTo>
                  <a:lnTo>
                    <a:pt x="0" y="429276"/>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26" name="Group 25"/>
          <p:cNvGrpSpPr/>
          <p:nvPr>
            <p:custDataLst>
              <p:custData r:id="rId5"/>
            </p:custDataLst>
          </p:nvPr>
        </p:nvGrpSpPr>
        <p:grpSpPr>
          <a:xfrm>
            <a:off x="4531764" y="2279861"/>
            <a:ext cx="1531188" cy="1280919"/>
            <a:chOff x="4733877" y="1581031"/>
            <a:chExt cx="1531188" cy="1280919"/>
          </a:xfrm>
        </p:grpSpPr>
        <p:sp>
          <p:nvSpPr>
            <p:cNvPr id="27" name="Freeform 26"/>
            <p:cNvSpPr/>
            <p:nvPr/>
          </p:nvSpPr>
          <p:spPr bwMode="auto">
            <a:xfrm>
              <a:off x="5151437" y="2165882"/>
              <a:ext cx="696068" cy="696068"/>
            </a:xfrm>
            <a:custGeom>
              <a:avLst/>
              <a:gdLst>
                <a:gd name="connsiteX0" fmla="*/ 538670 w 696068"/>
                <a:gd name="connsiteY0" fmla="*/ 386705 h 696068"/>
                <a:gd name="connsiteX1" fmla="*/ 538670 w 696068"/>
                <a:gd name="connsiteY1" fmla="*/ 539706 h 696068"/>
                <a:gd name="connsiteX2" fmla="*/ 585270 w 696068"/>
                <a:gd name="connsiteY2" fmla="*/ 478498 h 696068"/>
                <a:gd name="connsiteX3" fmla="*/ 613228 w 696068"/>
                <a:gd name="connsiteY3" fmla="*/ 402587 h 696068"/>
                <a:gd name="connsiteX4" fmla="*/ 614828 w 696068"/>
                <a:gd name="connsiteY4" fmla="*/ 386705 h 696068"/>
                <a:gd name="connsiteX5" fmla="*/ 386704 w 696068"/>
                <a:gd name="connsiteY5" fmla="*/ 386705 h 696068"/>
                <a:gd name="connsiteX6" fmla="*/ 386704 w 696068"/>
                <a:gd name="connsiteY6" fmla="*/ 615314 h 696068"/>
                <a:gd name="connsiteX7" fmla="*/ 395950 w 696068"/>
                <a:gd name="connsiteY7" fmla="*/ 614499 h 696068"/>
                <a:gd name="connsiteX8" fmla="*/ 472723 w 696068"/>
                <a:gd name="connsiteY8" fmla="*/ 588362 h 696068"/>
                <a:gd name="connsiteX9" fmla="*/ 492266 w 696068"/>
                <a:gd name="connsiteY9" fmla="*/ 574211 h 696068"/>
                <a:gd name="connsiteX10" fmla="*/ 492266 w 696068"/>
                <a:gd name="connsiteY10" fmla="*/ 386705 h 696068"/>
                <a:gd name="connsiteX11" fmla="*/ 195868 w 696068"/>
                <a:gd name="connsiteY11" fmla="*/ 386705 h 696068"/>
                <a:gd name="connsiteX12" fmla="*/ 195868 w 696068"/>
                <a:gd name="connsiteY12" fmla="*/ 568467 h 696068"/>
                <a:gd name="connsiteX13" fmla="*/ 223344 w 696068"/>
                <a:gd name="connsiteY13" fmla="*/ 588362 h 696068"/>
                <a:gd name="connsiteX14" fmla="*/ 300117 w 696068"/>
                <a:gd name="connsiteY14" fmla="*/ 614499 h 696068"/>
                <a:gd name="connsiteX15" fmla="*/ 309363 w 696068"/>
                <a:gd name="connsiteY15" fmla="*/ 615314 h 696068"/>
                <a:gd name="connsiteX16" fmla="*/ 309363 w 696068"/>
                <a:gd name="connsiteY16" fmla="*/ 386705 h 696068"/>
                <a:gd name="connsiteX17" fmla="*/ 81239 w 696068"/>
                <a:gd name="connsiteY17" fmla="*/ 386705 h 696068"/>
                <a:gd name="connsiteX18" fmla="*/ 82841 w 696068"/>
                <a:gd name="connsiteY18" fmla="*/ 402587 h 696068"/>
                <a:gd name="connsiteX19" fmla="*/ 110798 w 696068"/>
                <a:gd name="connsiteY19" fmla="*/ 478498 h 696068"/>
                <a:gd name="connsiteX20" fmla="*/ 149464 w 696068"/>
                <a:gd name="connsiteY20" fmla="*/ 529286 h 696068"/>
                <a:gd name="connsiteX21" fmla="*/ 149464 w 696068"/>
                <a:gd name="connsiteY21" fmla="*/ 386705 h 696068"/>
                <a:gd name="connsiteX22" fmla="*/ 149464 w 696068"/>
                <a:gd name="connsiteY22" fmla="*/ 166782 h 696068"/>
                <a:gd name="connsiteX23" fmla="*/ 110798 w 696068"/>
                <a:gd name="connsiteY23" fmla="*/ 217570 h 696068"/>
                <a:gd name="connsiteX24" fmla="*/ 82841 w 696068"/>
                <a:gd name="connsiteY24" fmla="*/ 293480 h 696068"/>
                <a:gd name="connsiteX25" fmla="*/ 81239 w 696068"/>
                <a:gd name="connsiteY25" fmla="*/ 309364 h 696068"/>
                <a:gd name="connsiteX26" fmla="*/ 149464 w 696068"/>
                <a:gd name="connsiteY26" fmla="*/ 309364 h 696068"/>
                <a:gd name="connsiteX27" fmla="*/ 538670 w 696068"/>
                <a:gd name="connsiteY27" fmla="*/ 156361 h 696068"/>
                <a:gd name="connsiteX28" fmla="*/ 538670 w 696068"/>
                <a:gd name="connsiteY28" fmla="*/ 309364 h 696068"/>
                <a:gd name="connsiteX29" fmla="*/ 614828 w 696068"/>
                <a:gd name="connsiteY29" fmla="*/ 309364 h 696068"/>
                <a:gd name="connsiteX30" fmla="*/ 613228 w 696068"/>
                <a:gd name="connsiteY30" fmla="*/ 293480 h 696068"/>
                <a:gd name="connsiteX31" fmla="*/ 585270 w 696068"/>
                <a:gd name="connsiteY31" fmla="*/ 217570 h 696068"/>
                <a:gd name="connsiteX32" fmla="*/ 386704 w 696068"/>
                <a:gd name="connsiteY32" fmla="*/ 80753 h 696068"/>
                <a:gd name="connsiteX33" fmla="*/ 386704 w 696068"/>
                <a:gd name="connsiteY33" fmla="*/ 309364 h 696068"/>
                <a:gd name="connsiteX34" fmla="*/ 492266 w 696068"/>
                <a:gd name="connsiteY34" fmla="*/ 309364 h 696068"/>
                <a:gd name="connsiteX35" fmla="*/ 492266 w 696068"/>
                <a:gd name="connsiteY35" fmla="*/ 121856 h 696068"/>
                <a:gd name="connsiteX36" fmla="*/ 472723 w 696068"/>
                <a:gd name="connsiteY36" fmla="*/ 107705 h 696068"/>
                <a:gd name="connsiteX37" fmla="*/ 395950 w 696068"/>
                <a:gd name="connsiteY37" fmla="*/ 81568 h 696068"/>
                <a:gd name="connsiteX38" fmla="*/ 309363 w 696068"/>
                <a:gd name="connsiteY38" fmla="*/ 80753 h 696068"/>
                <a:gd name="connsiteX39" fmla="*/ 300117 w 696068"/>
                <a:gd name="connsiteY39" fmla="*/ 81568 h 696068"/>
                <a:gd name="connsiteX40" fmla="*/ 223344 w 696068"/>
                <a:gd name="connsiteY40" fmla="*/ 107705 h 696068"/>
                <a:gd name="connsiteX41" fmla="*/ 195868 w 696068"/>
                <a:gd name="connsiteY41" fmla="*/ 127600 h 696068"/>
                <a:gd name="connsiteX42" fmla="*/ 195868 w 696068"/>
                <a:gd name="connsiteY42" fmla="*/ 309364 h 696068"/>
                <a:gd name="connsiteX43" fmla="*/ 309363 w 696068"/>
                <a:gd name="connsiteY43" fmla="*/ 309364 h 696068"/>
                <a:gd name="connsiteX44" fmla="*/ 348034 w 696068"/>
                <a:gd name="connsiteY44" fmla="*/ 0 h 696068"/>
                <a:gd name="connsiteX45" fmla="*/ 696068 w 696068"/>
                <a:gd name="connsiteY45" fmla="*/ 348034 h 696068"/>
                <a:gd name="connsiteX46" fmla="*/ 348034 w 696068"/>
                <a:gd name="connsiteY46" fmla="*/ 696068 h 696068"/>
                <a:gd name="connsiteX47" fmla="*/ 0 w 696068"/>
                <a:gd name="connsiteY47" fmla="*/ 348034 h 696068"/>
                <a:gd name="connsiteX48" fmla="*/ 348034 w 696068"/>
                <a:gd name="connsiteY48" fmla="*/ 0 h 696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96068" h="696068">
                  <a:moveTo>
                    <a:pt x="538670" y="386705"/>
                  </a:moveTo>
                  <a:lnTo>
                    <a:pt x="538670" y="539706"/>
                  </a:lnTo>
                  <a:lnTo>
                    <a:pt x="585270" y="478498"/>
                  </a:lnTo>
                  <a:cubicBezTo>
                    <a:pt x="598170" y="455091"/>
                    <a:pt x="607706" y="429570"/>
                    <a:pt x="613228" y="402587"/>
                  </a:cubicBezTo>
                  <a:lnTo>
                    <a:pt x="614828" y="386705"/>
                  </a:lnTo>
                  <a:close/>
                  <a:moveTo>
                    <a:pt x="386704" y="386705"/>
                  </a:moveTo>
                  <a:lnTo>
                    <a:pt x="386704" y="615314"/>
                  </a:lnTo>
                  <a:lnTo>
                    <a:pt x="395950" y="614499"/>
                  </a:lnTo>
                  <a:cubicBezTo>
                    <a:pt x="423168" y="609638"/>
                    <a:pt x="448976" y="600708"/>
                    <a:pt x="472723" y="588362"/>
                  </a:cubicBezTo>
                  <a:lnTo>
                    <a:pt x="492266" y="574211"/>
                  </a:lnTo>
                  <a:lnTo>
                    <a:pt x="492266" y="386705"/>
                  </a:lnTo>
                  <a:close/>
                  <a:moveTo>
                    <a:pt x="195868" y="386705"/>
                  </a:moveTo>
                  <a:lnTo>
                    <a:pt x="195868" y="568467"/>
                  </a:lnTo>
                  <a:lnTo>
                    <a:pt x="223344" y="588362"/>
                  </a:lnTo>
                  <a:cubicBezTo>
                    <a:pt x="247092" y="600708"/>
                    <a:pt x="272899" y="609638"/>
                    <a:pt x="300117" y="614499"/>
                  </a:cubicBezTo>
                  <a:lnTo>
                    <a:pt x="309363" y="615314"/>
                  </a:lnTo>
                  <a:lnTo>
                    <a:pt x="309363" y="386705"/>
                  </a:lnTo>
                  <a:close/>
                  <a:moveTo>
                    <a:pt x="81239" y="386705"/>
                  </a:moveTo>
                  <a:lnTo>
                    <a:pt x="82841" y="402587"/>
                  </a:lnTo>
                  <a:cubicBezTo>
                    <a:pt x="88362" y="429570"/>
                    <a:pt x="97898" y="455091"/>
                    <a:pt x="110798" y="478498"/>
                  </a:cubicBezTo>
                  <a:lnTo>
                    <a:pt x="149464" y="529286"/>
                  </a:lnTo>
                  <a:lnTo>
                    <a:pt x="149464" y="386705"/>
                  </a:lnTo>
                  <a:close/>
                  <a:moveTo>
                    <a:pt x="149464" y="166782"/>
                  </a:moveTo>
                  <a:lnTo>
                    <a:pt x="110798" y="217570"/>
                  </a:lnTo>
                  <a:cubicBezTo>
                    <a:pt x="97898" y="240976"/>
                    <a:pt x="88362" y="266497"/>
                    <a:pt x="82841" y="293480"/>
                  </a:cubicBezTo>
                  <a:lnTo>
                    <a:pt x="81239" y="309364"/>
                  </a:lnTo>
                  <a:lnTo>
                    <a:pt x="149464" y="309364"/>
                  </a:lnTo>
                  <a:close/>
                  <a:moveTo>
                    <a:pt x="538670" y="156361"/>
                  </a:moveTo>
                  <a:lnTo>
                    <a:pt x="538670" y="309364"/>
                  </a:lnTo>
                  <a:lnTo>
                    <a:pt x="614828" y="309364"/>
                  </a:lnTo>
                  <a:lnTo>
                    <a:pt x="613228" y="293480"/>
                  </a:lnTo>
                  <a:cubicBezTo>
                    <a:pt x="607706" y="266497"/>
                    <a:pt x="598170" y="240976"/>
                    <a:pt x="585270" y="217570"/>
                  </a:cubicBezTo>
                  <a:close/>
                  <a:moveTo>
                    <a:pt x="386704" y="80753"/>
                  </a:moveTo>
                  <a:lnTo>
                    <a:pt x="386704" y="309364"/>
                  </a:lnTo>
                  <a:lnTo>
                    <a:pt x="492266" y="309364"/>
                  </a:lnTo>
                  <a:lnTo>
                    <a:pt x="492266" y="121856"/>
                  </a:lnTo>
                  <a:lnTo>
                    <a:pt x="472723" y="107705"/>
                  </a:lnTo>
                  <a:cubicBezTo>
                    <a:pt x="448976" y="95359"/>
                    <a:pt x="423168" y="86430"/>
                    <a:pt x="395950" y="81568"/>
                  </a:cubicBezTo>
                  <a:close/>
                  <a:moveTo>
                    <a:pt x="309363" y="80753"/>
                  </a:moveTo>
                  <a:lnTo>
                    <a:pt x="300117" y="81568"/>
                  </a:lnTo>
                  <a:cubicBezTo>
                    <a:pt x="272899" y="86430"/>
                    <a:pt x="247092" y="95359"/>
                    <a:pt x="223344" y="107705"/>
                  </a:cubicBezTo>
                  <a:lnTo>
                    <a:pt x="195868" y="127600"/>
                  </a:lnTo>
                  <a:lnTo>
                    <a:pt x="195868" y="309364"/>
                  </a:lnTo>
                  <a:lnTo>
                    <a:pt x="309363" y="309364"/>
                  </a:lnTo>
                  <a:close/>
                  <a:moveTo>
                    <a:pt x="348034" y="0"/>
                  </a:moveTo>
                  <a:cubicBezTo>
                    <a:pt x="540247" y="0"/>
                    <a:pt x="696068" y="155820"/>
                    <a:pt x="696068" y="348034"/>
                  </a:cubicBezTo>
                  <a:cubicBezTo>
                    <a:pt x="696068" y="540247"/>
                    <a:pt x="540247" y="696068"/>
                    <a:pt x="348034" y="696068"/>
                  </a:cubicBezTo>
                  <a:cubicBezTo>
                    <a:pt x="155820" y="696068"/>
                    <a:pt x="0" y="540247"/>
                    <a:pt x="0" y="348034"/>
                  </a:cubicBezTo>
                  <a:cubicBezTo>
                    <a:pt x="0" y="155820"/>
                    <a:pt x="155820" y="0"/>
                    <a:pt x="348034" y="0"/>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8" name="TextBox 27"/>
            <p:cNvSpPr txBox="1"/>
            <p:nvPr/>
          </p:nvSpPr>
          <p:spPr>
            <a:xfrm>
              <a:off x="4733877" y="1581031"/>
              <a:ext cx="1531188" cy="646331"/>
            </a:xfrm>
            <a:prstGeom prst="rect">
              <a:avLst/>
            </a:prstGeom>
            <a:noFill/>
          </p:spPr>
          <p:txBody>
            <a:bodyPr wrap="none" rtlCol="0">
              <a:spAutoFit/>
            </a:bodyPr>
            <a:lstStyle/>
            <a:p>
              <a:pPr algn="ctr"/>
              <a:r>
                <a:rPr lang="en-US" dirty="0" smtClean="0">
                  <a:latin typeface="+mn-lt"/>
                </a:rPr>
                <a:t>authorization</a:t>
              </a:r>
            </a:p>
            <a:p>
              <a:pPr algn="ctr"/>
              <a:r>
                <a:rPr lang="en-US" dirty="0"/>
                <a:t>e</a:t>
              </a:r>
              <a:r>
                <a:rPr lang="en-US" dirty="0" smtClean="0"/>
                <a:t>ndpoint</a:t>
              </a:r>
              <a:endParaRPr lang="en-US" dirty="0">
                <a:latin typeface="+mn-lt"/>
              </a:endParaRPr>
            </a:p>
          </p:txBody>
        </p:sp>
      </p:grpSp>
      <p:grpSp>
        <p:nvGrpSpPr>
          <p:cNvPr id="43" name="Group 42"/>
          <p:cNvGrpSpPr/>
          <p:nvPr>
            <p:custDataLst>
              <p:custData r:id="rId6"/>
            </p:custDataLst>
          </p:nvPr>
        </p:nvGrpSpPr>
        <p:grpSpPr>
          <a:xfrm>
            <a:off x="6402062" y="2343169"/>
            <a:ext cx="1106393" cy="1280919"/>
            <a:chOff x="6444671" y="1581031"/>
            <a:chExt cx="1106393" cy="1280919"/>
          </a:xfrm>
        </p:grpSpPr>
        <p:sp>
          <p:nvSpPr>
            <p:cNvPr id="44" name="Freeform 43"/>
            <p:cNvSpPr/>
            <p:nvPr/>
          </p:nvSpPr>
          <p:spPr bwMode="auto">
            <a:xfrm>
              <a:off x="6589013" y="2236695"/>
              <a:ext cx="817709" cy="625255"/>
            </a:xfrm>
            <a:custGeom>
              <a:avLst/>
              <a:gdLst>
                <a:gd name="connsiteX0" fmla="*/ 323690 w 1143000"/>
                <a:gd name="connsiteY0" fmla="*/ 635980 h 873987"/>
                <a:gd name="connsiteX1" fmla="*/ 242118 w 1143000"/>
                <a:gd name="connsiteY1" fmla="*/ 776621 h 873987"/>
                <a:gd name="connsiteX2" fmla="*/ 323690 w 1143000"/>
                <a:gd name="connsiteY2" fmla="*/ 776621 h 873987"/>
                <a:gd name="connsiteX3" fmla="*/ 817709 w 1143000"/>
                <a:gd name="connsiteY3" fmla="*/ 633219 h 873987"/>
                <a:gd name="connsiteX4" fmla="*/ 817709 w 1143000"/>
                <a:gd name="connsiteY4" fmla="*/ 776621 h 873987"/>
                <a:gd name="connsiteX5" fmla="*/ 900882 w 1143000"/>
                <a:gd name="connsiteY5" fmla="*/ 776621 h 873987"/>
                <a:gd name="connsiteX6" fmla="*/ 647700 w 1143000"/>
                <a:gd name="connsiteY6" fmla="*/ 340100 h 873987"/>
                <a:gd name="connsiteX7" fmla="*/ 647700 w 1143000"/>
                <a:gd name="connsiteY7" fmla="*/ 776621 h 873987"/>
                <a:gd name="connsiteX8" fmla="*/ 759315 w 1143000"/>
                <a:gd name="connsiteY8" fmla="*/ 776621 h 873987"/>
                <a:gd name="connsiteX9" fmla="*/ 759315 w 1143000"/>
                <a:gd name="connsiteY9" fmla="*/ 532540 h 873987"/>
                <a:gd name="connsiteX10" fmla="*/ 495300 w 1143000"/>
                <a:gd name="connsiteY10" fmla="*/ 340100 h 873987"/>
                <a:gd name="connsiteX11" fmla="*/ 382084 w 1143000"/>
                <a:gd name="connsiteY11" fmla="*/ 535300 h 873987"/>
                <a:gd name="connsiteX12" fmla="*/ 382084 w 1143000"/>
                <a:gd name="connsiteY12" fmla="*/ 776621 h 873987"/>
                <a:gd name="connsiteX13" fmla="*/ 495300 w 1143000"/>
                <a:gd name="connsiteY13" fmla="*/ 776621 h 873987"/>
                <a:gd name="connsiteX14" fmla="*/ 571500 w 1143000"/>
                <a:gd name="connsiteY14" fmla="*/ 0 h 873987"/>
                <a:gd name="connsiteX15" fmla="*/ 1143000 w 1143000"/>
                <a:gd name="connsiteY15" fmla="*/ 872700 h 873987"/>
                <a:gd name="connsiteX16" fmla="*/ 382084 w 1143000"/>
                <a:gd name="connsiteY16" fmla="*/ 872700 h 873987"/>
                <a:gd name="connsiteX17" fmla="*/ 382084 w 1143000"/>
                <a:gd name="connsiteY17" fmla="*/ 873987 h 873987"/>
                <a:gd name="connsiteX18" fmla="*/ 323690 w 1143000"/>
                <a:gd name="connsiteY18" fmla="*/ 873987 h 873987"/>
                <a:gd name="connsiteX19" fmla="*/ 323690 w 1143000"/>
                <a:gd name="connsiteY19" fmla="*/ 872700 h 873987"/>
                <a:gd name="connsiteX20" fmla="*/ 0 w 1143000"/>
                <a:gd name="connsiteY20" fmla="*/ 872700 h 87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3000" h="873987">
                  <a:moveTo>
                    <a:pt x="323690" y="635980"/>
                  </a:moveTo>
                  <a:lnTo>
                    <a:pt x="242118" y="776621"/>
                  </a:lnTo>
                  <a:lnTo>
                    <a:pt x="323690" y="776621"/>
                  </a:lnTo>
                  <a:close/>
                  <a:moveTo>
                    <a:pt x="817709" y="633219"/>
                  </a:moveTo>
                  <a:lnTo>
                    <a:pt x="817709" y="776621"/>
                  </a:lnTo>
                  <a:lnTo>
                    <a:pt x="900882" y="776621"/>
                  </a:lnTo>
                  <a:close/>
                  <a:moveTo>
                    <a:pt x="647700" y="340100"/>
                  </a:moveTo>
                  <a:lnTo>
                    <a:pt x="647700" y="776621"/>
                  </a:lnTo>
                  <a:lnTo>
                    <a:pt x="759315" y="776621"/>
                  </a:lnTo>
                  <a:lnTo>
                    <a:pt x="759315" y="532540"/>
                  </a:lnTo>
                  <a:close/>
                  <a:moveTo>
                    <a:pt x="495300" y="340100"/>
                  </a:moveTo>
                  <a:lnTo>
                    <a:pt x="382084" y="535300"/>
                  </a:lnTo>
                  <a:lnTo>
                    <a:pt x="382084" y="776621"/>
                  </a:lnTo>
                  <a:lnTo>
                    <a:pt x="495300" y="776621"/>
                  </a:lnTo>
                  <a:close/>
                  <a:moveTo>
                    <a:pt x="571500" y="0"/>
                  </a:moveTo>
                  <a:lnTo>
                    <a:pt x="1143000" y="872700"/>
                  </a:lnTo>
                  <a:lnTo>
                    <a:pt x="382084" y="872700"/>
                  </a:lnTo>
                  <a:lnTo>
                    <a:pt x="382084" y="873987"/>
                  </a:lnTo>
                  <a:lnTo>
                    <a:pt x="323690" y="873987"/>
                  </a:lnTo>
                  <a:lnTo>
                    <a:pt x="323690" y="872700"/>
                  </a:lnTo>
                  <a:lnTo>
                    <a:pt x="0" y="872700"/>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5" name="TextBox 44"/>
            <p:cNvSpPr txBox="1"/>
            <p:nvPr/>
          </p:nvSpPr>
          <p:spPr>
            <a:xfrm>
              <a:off x="6444671" y="1581031"/>
              <a:ext cx="1106393" cy="646331"/>
            </a:xfrm>
            <a:prstGeom prst="rect">
              <a:avLst/>
            </a:prstGeom>
            <a:noFill/>
          </p:spPr>
          <p:txBody>
            <a:bodyPr wrap="none" rtlCol="0">
              <a:spAutoFit/>
            </a:bodyPr>
            <a:lstStyle/>
            <a:p>
              <a:pPr algn="ctr"/>
              <a:r>
                <a:rPr lang="en-US" dirty="0" smtClean="0">
                  <a:latin typeface="+mn-lt"/>
                </a:rPr>
                <a:t>token</a:t>
              </a:r>
            </a:p>
            <a:p>
              <a:pPr algn="ctr"/>
              <a:r>
                <a:rPr lang="en-US" dirty="0" smtClean="0"/>
                <a:t>endpoint</a:t>
              </a:r>
              <a:endParaRPr lang="en-US" dirty="0">
                <a:latin typeface="+mn-lt"/>
              </a:endParaRPr>
            </a:p>
          </p:txBody>
        </p:sp>
      </p:grpSp>
      <p:sp>
        <p:nvSpPr>
          <p:cNvPr id="60" name="Regular Pentagon 59"/>
          <p:cNvSpPr/>
          <p:nvPr>
            <p:custDataLst>
              <p:custData r:id="rId7"/>
            </p:custDataLst>
          </p:nvPr>
        </p:nvSpPr>
        <p:spPr bwMode="auto">
          <a:xfrm>
            <a:off x="3563288" y="4874896"/>
            <a:ext cx="614075" cy="584833"/>
          </a:xfrm>
          <a:prstGeom prst="pent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smtClean="0">
                <a:solidFill>
                  <a:schemeClr val="bg1"/>
                </a:solidFill>
                <a:ea typeface="Segoe UI" pitchFamily="34" charset="0"/>
                <a:cs typeface="Segoe UI" pitchFamily="34" charset="0"/>
              </a:rPr>
              <a:t>A</a:t>
            </a:r>
          </a:p>
        </p:txBody>
      </p:sp>
      <p:sp>
        <p:nvSpPr>
          <p:cNvPr id="63" name="Regular Pentagon 62"/>
          <p:cNvSpPr/>
          <p:nvPr>
            <p:custDataLst>
              <p:custData r:id="rId8"/>
            </p:custDataLst>
          </p:nvPr>
        </p:nvSpPr>
        <p:spPr bwMode="auto">
          <a:xfrm>
            <a:off x="8932269" y="4155159"/>
            <a:ext cx="614075" cy="584833"/>
          </a:xfrm>
          <a:prstGeom prst="pent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smtClean="0">
                <a:solidFill>
                  <a:schemeClr val="bg1"/>
                </a:solidFill>
                <a:ea typeface="Segoe UI" pitchFamily="34" charset="0"/>
                <a:cs typeface="Segoe UI" pitchFamily="34" charset="0"/>
              </a:rPr>
              <a:t>A</a:t>
            </a:r>
          </a:p>
        </p:txBody>
      </p:sp>
      <p:sp>
        <p:nvSpPr>
          <p:cNvPr id="77" name="Regular Pentagon 76"/>
          <p:cNvSpPr/>
          <p:nvPr>
            <p:custDataLst>
              <p:custData r:id="rId9"/>
            </p:custDataLst>
          </p:nvPr>
        </p:nvSpPr>
        <p:spPr bwMode="auto">
          <a:xfrm>
            <a:off x="4028425" y="5038408"/>
            <a:ext cx="614075" cy="584833"/>
          </a:xfrm>
          <a:prstGeom prst="pentagon">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solidFill>
                  <a:schemeClr val="bg1"/>
                </a:solidFill>
                <a:ea typeface="Segoe UI" pitchFamily="34" charset="0"/>
                <a:cs typeface="Segoe UI" pitchFamily="34" charset="0"/>
              </a:rPr>
              <a:t>R</a:t>
            </a:r>
            <a:endParaRPr lang="en-US" sz="2400" b="1" dirty="0" smtClean="0">
              <a:solidFill>
                <a:schemeClr val="bg1"/>
              </a:solidFill>
              <a:ea typeface="Segoe UI" pitchFamily="34" charset="0"/>
              <a:cs typeface="Segoe UI" pitchFamily="34" charset="0"/>
            </a:endParaRPr>
          </a:p>
        </p:txBody>
      </p:sp>
      <p:sp>
        <p:nvSpPr>
          <p:cNvPr id="78" name="Flowchart: Magnetic Disk 77"/>
          <p:cNvSpPr/>
          <p:nvPr>
            <p:custDataLst>
              <p:custData r:id="rId10"/>
            </p:custDataLst>
          </p:nvPr>
        </p:nvSpPr>
        <p:spPr bwMode="auto">
          <a:xfrm>
            <a:off x="3594100" y="4673634"/>
            <a:ext cx="1057275" cy="1250881"/>
          </a:xfrm>
          <a:prstGeom prst="flowChartMagneticDisk">
            <a:avLst/>
          </a:prstGeom>
          <a:no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4</a:t>
            </a:r>
          </a:p>
        </p:txBody>
      </p:sp>
    </p:spTree>
    <p:extLst>
      <p:ext uri="{BB962C8B-B14F-4D97-AF65-F5344CB8AC3E}">
        <p14:creationId xmlns:p14="http://schemas.microsoft.com/office/powerpoint/2010/main" val="1205600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Active Directory</a:t>
            </a:r>
            <a:endParaRPr lang="en-US" dirty="0"/>
          </a:p>
        </p:txBody>
      </p:sp>
      <p:grpSp>
        <p:nvGrpSpPr>
          <p:cNvPr id="3" name="Group 2"/>
          <p:cNvGrpSpPr/>
          <p:nvPr/>
        </p:nvGrpSpPr>
        <p:grpSpPr>
          <a:xfrm>
            <a:off x="6985646" y="5270606"/>
            <a:ext cx="467675" cy="461747"/>
            <a:chOff x="7972586" y="1916096"/>
            <a:chExt cx="1143000" cy="1128513"/>
          </a:xfrm>
        </p:grpSpPr>
        <p:sp>
          <p:nvSpPr>
            <p:cNvPr id="4" name="Can 3"/>
            <p:cNvSpPr/>
            <p:nvPr/>
          </p:nvSpPr>
          <p:spPr bwMode="auto">
            <a:xfrm>
              <a:off x="7972586" y="1916096"/>
              <a:ext cx="1143000" cy="1128513"/>
            </a:xfrm>
            <a:prstGeom prst="can">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5" name="Freeform 4"/>
            <p:cNvSpPr/>
            <p:nvPr/>
          </p:nvSpPr>
          <p:spPr bwMode="auto">
            <a:xfrm>
              <a:off x="8103454" y="2293626"/>
              <a:ext cx="242753" cy="551365"/>
            </a:xfrm>
            <a:custGeom>
              <a:avLst/>
              <a:gdLst>
                <a:gd name="connsiteX0" fmla="*/ 284818 w 569636"/>
                <a:gd name="connsiteY0" fmla="*/ 94318 h 1293813"/>
                <a:gd name="connsiteX1" fmla="*/ 94318 w 569636"/>
                <a:gd name="connsiteY1" fmla="*/ 284818 h 1293813"/>
                <a:gd name="connsiteX2" fmla="*/ 284818 w 569636"/>
                <a:gd name="connsiteY2" fmla="*/ 475318 h 1293813"/>
                <a:gd name="connsiteX3" fmla="*/ 475318 w 569636"/>
                <a:gd name="connsiteY3" fmla="*/ 284818 h 1293813"/>
                <a:gd name="connsiteX4" fmla="*/ 284818 w 569636"/>
                <a:gd name="connsiteY4" fmla="*/ 94318 h 1293813"/>
                <a:gd name="connsiteX5" fmla="*/ 284818 w 569636"/>
                <a:gd name="connsiteY5" fmla="*/ 0 h 1293813"/>
                <a:gd name="connsiteX6" fmla="*/ 569636 w 569636"/>
                <a:gd name="connsiteY6" fmla="*/ 284818 h 1293813"/>
                <a:gd name="connsiteX7" fmla="*/ 395682 w 569636"/>
                <a:gd name="connsiteY7" fmla="*/ 547254 h 1293813"/>
                <a:gd name="connsiteX8" fmla="*/ 361018 w 569636"/>
                <a:gd name="connsiteY8" fmla="*/ 554252 h 1293813"/>
                <a:gd name="connsiteX9" fmla="*/ 361018 w 569636"/>
                <a:gd name="connsiteY9" fmla="*/ 1293813 h 1293813"/>
                <a:gd name="connsiteX10" fmla="*/ 208618 w 569636"/>
                <a:gd name="connsiteY10" fmla="*/ 1293813 h 1293813"/>
                <a:gd name="connsiteX11" fmla="*/ 208618 w 569636"/>
                <a:gd name="connsiteY11" fmla="*/ 1255436 h 1293813"/>
                <a:gd name="connsiteX12" fmla="*/ 0 w 569636"/>
                <a:gd name="connsiteY12" fmla="*/ 1255436 h 1293813"/>
                <a:gd name="connsiteX13" fmla="*/ 0 w 569636"/>
                <a:gd name="connsiteY13" fmla="*/ 1148210 h 1293813"/>
                <a:gd name="connsiteX14" fmla="*/ 11309 w 569636"/>
                <a:gd name="connsiteY14" fmla="*/ 1150653 h 1293813"/>
                <a:gd name="connsiteX15" fmla="*/ 82514 w 569636"/>
                <a:gd name="connsiteY15" fmla="*/ 1074453 h 1293813"/>
                <a:gd name="connsiteX16" fmla="*/ 11309 w 569636"/>
                <a:gd name="connsiteY16" fmla="*/ 998253 h 1293813"/>
                <a:gd name="connsiteX17" fmla="*/ 0 w 569636"/>
                <a:gd name="connsiteY17" fmla="*/ 1000696 h 1293813"/>
                <a:gd name="connsiteX18" fmla="*/ 0 w 569636"/>
                <a:gd name="connsiteY18" fmla="*/ 912813 h 1293813"/>
                <a:gd name="connsiteX19" fmla="*/ 208618 w 569636"/>
                <a:gd name="connsiteY19" fmla="*/ 912813 h 1293813"/>
                <a:gd name="connsiteX20" fmla="*/ 208618 w 569636"/>
                <a:gd name="connsiteY20" fmla="*/ 554252 h 1293813"/>
                <a:gd name="connsiteX21" fmla="*/ 173954 w 569636"/>
                <a:gd name="connsiteY21" fmla="*/ 547254 h 1293813"/>
                <a:gd name="connsiteX22" fmla="*/ 0 w 569636"/>
                <a:gd name="connsiteY22" fmla="*/ 284818 h 1293813"/>
                <a:gd name="connsiteX23" fmla="*/ 284818 w 569636"/>
                <a:gd name="connsiteY23" fmla="*/ 0 h 129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9636" h="1293813">
                  <a:moveTo>
                    <a:pt x="284818" y="94318"/>
                  </a:moveTo>
                  <a:cubicBezTo>
                    <a:pt x="179608" y="94318"/>
                    <a:pt x="94318" y="179608"/>
                    <a:pt x="94318" y="284818"/>
                  </a:cubicBezTo>
                  <a:cubicBezTo>
                    <a:pt x="94318" y="390028"/>
                    <a:pt x="179608" y="475318"/>
                    <a:pt x="284818" y="475318"/>
                  </a:cubicBezTo>
                  <a:cubicBezTo>
                    <a:pt x="390028" y="475318"/>
                    <a:pt x="475318" y="390028"/>
                    <a:pt x="475318" y="284818"/>
                  </a:cubicBezTo>
                  <a:cubicBezTo>
                    <a:pt x="475318" y="179608"/>
                    <a:pt x="390028" y="94318"/>
                    <a:pt x="284818" y="94318"/>
                  </a:cubicBezTo>
                  <a:close/>
                  <a:moveTo>
                    <a:pt x="284818" y="0"/>
                  </a:moveTo>
                  <a:cubicBezTo>
                    <a:pt x="442119" y="0"/>
                    <a:pt x="569636" y="127517"/>
                    <a:pt x="569636" y="284818"/>
                  </a:cubicBezTo>
                  <a:cubicBezTo>
                    <a:pt x="569636" y="402794"/>
                    <a:pt x="497908" y="504016"/>
                    <a:pt x="395682" y="547254"/>
                  </a:cubicBezTo>
                  <a:lnTo>
                    <a:pt x="361018" y="554252"/>
                  </a:lnTo>
                  <a:lnTo>
                    <a:pt x="361018" y="1293813"/>
                  </a:lnTo>
                  <a:lnTo>
                    <a:pt x="208618" y="1293813"/>
                  </a:lnTo>
                  <a:lnTo>
                    <a:pt x="208618" y="1255436"/>
                  </a:lnTo>
                  <a:lnTo>
                    <a:pt x="0" y="1255436"/>
                  </a:lnTo>
                  <a:lnTo>
                    <a:pt x="0" y="1148210"/>
                  </a:lnTo>
                  <a:lnTo>
                    <a:pt x="11309" y="1150653"/>
                  </a:lnTo>
                  <a:cubicBezTo>
                    <a:pt x="50634" y="1150653"/>
                    <a:pt x="82514" y="1116537"/>
                    <a:pt x="82514" y="1074453"/>
                  </a:cubicBezTo>
                  <a:cubicBezTo>
                    <a:pt x="82514" y="1032369"/>
                    <a:pt x="50634" y="998253"/>
                    <a:pt x="11309" y="998253"/>
                  </a:cubicBezTo>
                  <a:lnTo>
                    <a:pt x="0" y="1000696"/>
                  </a:lnTo>
                  <a:lnTo>
                    <a:pt x="0" y="912813"/>
                  </a:lnTo>
                  <a:lnTo>
                    <a:pt x="208618" y="912813"/>
                  </a:lnTo>
                  <a:lnTo>
                    <a:pt x="208618" y="554252"/>
                  </a:lnTo>
                  <a:lnTo>
                    <a:pt x="173954" y="547254"/>
                  </a:lnTo>
                  <a:cubicBezTo>
                    <a:pt x="71728" y="504016"/>
                    <a:pt x="0" y="402794"/>
                    <a:pt x="0" y="284818"/>
                  </a:cubicBezTo>
                  <a:cubicBezTo>
                    <a:pt x="0" y="127517"/>
                    <a:pt x="127517" y="0"/>
                    <a:pt x="28481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6" name="Freeform 5"/>
            <p:cNvSpPr/>
            <p:nvPr/>
          </p:nvSpPr>
          <p:spPr bwMode="auto">
            <a:xfrm>
              <a:off x="8439867" y="2419939"/>
              <a:ext cx="242753" cy="551365"/>
            </a:xfrm>
            <a:custGeom>
              <a:avLst/>
              <a:gdLst>
                <a:gd name="connsiteX0" fmla="*/ 284818 w 569636"/>
                <a:gd name="connsiteY0" fmla="*/ 94318 h 1293813"/>
                <a:gd name="connsiteX1" fmla="*/ 94318 w 569636"/>
                <a:gd name="connsiteY1" fmla="*/ 284818 h 1293813"/>
                <a:gd name="connsiteX2" fmla="*/ 284818 w 569636"/>
                <a:gd name="connsiteY2" fmla="*/ 475318 h 1293813"/>
                <a:gd name="connsiteX3" fmla="*/ 475318 w 569636"/>
                <a:gd name="connsiteY3" fmla="*/ 284818 h 1293813"/>
                <a:gd name="connsiteX4" fmla="*/ 284818 w 569636"/>
                <a:gd name="connsiteY4" fmla="*/ 94318 h 1293813"/>
                <a:gd name="connsiteX5" fmla="*/ 284818 w 569636"/>
                <a:gd name="connsiteY5" fmla="*/ 0 h 1293813"/>
                <a:gd name="connsiteX6" fmla="*/ 569636 w 569636"/>
                <a:gd name="connsiteY6" fmla="*/ 284818 h 1293813"/>
                <a:gd name="connsiteX7" fmla="*/ 395682 w 569636"/>
                <a:gd name="connsiteY7" fmla="*/ 547254 h 1293813"/>
                <a:gd name="connsiteX8" fmla="*/ 361018 w 569636"/>
                <a:gd name="connsiteY8" fmla="*/ 554252 h 1293813"/>
                <a:gd name="connsiteX9" fmla="*/ 361018 w 569636"/>
                <a:gd name="connsiteY9" fmla="*/ 1293813 h 1293813"/>
                <a:gd name="connsiteX10" fmla="*/ 208618 w 569636"/>
                <a:gd name="connsiteY10" fmla="*/ 1293813 h 1293813"/>
                <a:gd name="connsiteX11" fmla="*/ 208618 w 569636"/>
                <a:gd name="connsiteY11" fmla="*/ 1255436 h 1293813"/>
                <a:gd name="connsiteX12" fmla="*/ 0 w 569636"/>
                <a:gd name="connsiteY12" fmla="*/ 1255436 h 1293813"/>
                <a:gd name="connsiteX13" fmla="*/ 0 w 569636"/>
                <a:gd name="connsiteY13" fmla="*/ 1148210 h 1293813"/>
                <a:gd name="connsiteX14" fmla="*/ 11309 w 569636"/>
                <a:gd name="connsiteY14" fmla="*/ 1150653 h 1293813"/>
                <a:gd name="connsiteX15" fmla="*/ 82514 w 569636"/>
                <a:gd name="connsiteY15" fmla="*/ 1074453 h 1293813"/>
                <a:gd name="connsiteX16" fmla="*/ 11309 w 569636"/>
                <a:gd name="connsiteY16" fmla="*/ 998253 h 1293813"/>
                <a:gd name="connsiteX17" fmla="*/ 0 w 569636"/>
                <a:gd name="connsiteY17" fmla="*/ 1000696 h 1293813"/>
                <a:gd name="connsiteX18" fmla="*/ 0 w 569636"/>
                <a:gd name="connsiteY18" fmla="*/ 912813 h 1293813"/>
                <a:gd name="connsiteX19" fmla="*/ 208618 w 569636"/>
                <a:gd name="connsiteY19" fmla="*/ 912813 h 1293813"/>
                <a:gd name="connsiteX20" fmla="*/ 208618 w 569636"/>
                <a:gd name="connsiteY20" fmla="*/ 554252 h 1293813"/>
                <a:gd name="connsiteX21" fmla="*/ 173954 w 569636"/>
                <a:gd name="connsiteY21" fmla="*/ 547254 h 1293813"/>
                <a:gd name="connsiteX22" fmla="*/ 0 w 569636"/>
                <a:gd name="connsiteY22" fmla="*/ 284818 h 1293813"/>
                <a:gd name="connsiteX23" fmla="*/ 284818 w 569636"/>
                <a:gd name="connsiteY23" fmla="*/ 0 h 129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9636" h="1293813">
                  <a:moveTo>
                    <a:pt x="284818" y="94318"/>
                  </a:moveTo>
                  <a:cubicBezTo>
                    <a:pt x="179608" y="94318"/>
                    <a:pt x="94318" y="179608"/>
                    <a:pt x="94318" y="284818"/>
                  </a:cubicBezTo>
                  <a:cubicBezTo>
                    <a:pt x="94318" y="390028"/>
                    <a:pt x="179608" y="475318"/>
                    <a:pt x="284818" y="475318"/>
                  </a:cubicBezTo>
                  <a:cubicBezTo>
                    <a:pt x="390028" y="475318"/>
                    <a:pt x="475318" y="390028"/>
                    <a:pt x="475318" y="284818"/>
                  </a:cubicBezTo>
                  <a:cubicBezTo>
                    <a:pt x="475318" y="179608"/>
                    <a:pt x="390028" y="94318"/>
                    <a:pt x="284818" y="94318"/>
                  </a:cubicBezTo>
                  <a:close/>
                  <a:moveTo>
                    <a:pt x="284818" y="0"/>
                  </a:moveTo>
                  <a:cubicBezTo>
                    <a:pt x="442119" y="0"/>
                    <a:pt x="569636" y="127517"/>
                    <a:pt x="569636" y="284818"/>
                  </a:cubicBezTo>
                  <a:cubicBezTo>
                    <a:pt x="569636" y="402794"/>
                    <a:pt x="497908" y="504016"/>
                    <a:pt x="395682" y="547254"/>
                  </a:cubicBezTo>
                  <a:lnTo>
                    <a:pt x="361018" y="554252"/>
                  </a:lnTo>
                  <a:lnTo>
                    <a:pt x="361018" y="1293813"/>
                  </a:lnTo>
                  <a:lnTo>
                    <a:pt x="208618" y="1293813"/>
                  </a:lnTo>
                  <a:lnTo>
                    <a:pt x="208618" y="1255436"/>
                  </a:lnTo>
                  <a:lnTo>
                    <a:pt x="0" y="1255436"/>
                  </a:lnTo>
                  <a:lnTo>
                    <a:pt x="0" y="1148210"/>
                  </a:lnTo>
                  <a:lnTo>
                    <a:pt x="11309" y="1150653"/>
                  </a:lnTo>
                  <a:cubicBezTo>
                    <a:pt x="50634" y="1150653"/>
                    <a:pt x="82514" y="1116537"/>
                    <a:pt x="82514" y="1074453"/>
                  </a:cubicBezTo>
                  <a:cubicBezTo>
                    <a:pt x="82514" y="1032369"/>
                    <a:pt x="50634" y="998253"/>
                    <a:pt x="11309" y="998253"/>
                  </a:cubicBezTo>
                  <a:lnTo>
                    <a:pt x="0" y="1000696"/>
                  </a:lnTo>
                  <a:lnTo>
                    <a:pt x="0" y="912813"/>
                  </a:lnTo>
                  <a:lnTo>
                    <a:pt x="208618" y="912813"/>
                  </a:lnTo>
                  <a:lnTo>
                    <a:pt x="208618" y="554252"/>
                  </a:lnTo>
                  <a:lnTo>
                    <a:pt x="173954" y="547254"/>
                  </a:lnTo>
                  <a:cubicBezTo>
                    <a:pt x="71728" y="504016"/>
                    <a:pt x="0" y="402794"/>
                    <a:pt x="0" y="284818"/>
                  </a:cubicBezTo>
                  <a:cubicBezTo>
                    <a:pt x="0" y="127517"/>
                    <a:pt x="127517" y="0"/>
                    <a:pt x="28481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6"/>
            <p:cNvSpPr/>
            <p:nvPr/>
          </p:nvSpPr>
          <p:spPr bwMode="auto">
            <a:xfrm>
              <a:off x="8776280" y="2293625"/>
              <a:ext cx="242753" cy="551365"/>
            </a:xfrm>
            <a:custGeom>
              <a:avLst/>
              <a:gdLst>
                <a:gd name="connsiteX0" fmla="*/ 284818 w 569636"/>
                <a:gd name="connsiteY0" fmla="*/ 94318 h 1293813"/>
                <a:gd name="connsiteX1" fmla="*/ 94318 w 569636"/>
                <a:gd name="connsiteY1" fmla="*/ 284818 h 1293813"/>
                <a:gd name="connsiteX2" fmla="*/ 284818 w 569636"/>
                <a:gd name="connsiteY2" fmla="*/ 475318 h 1293813"/>
                <a:gd name="connsiteX3" fmla="*/ 475318 w 569636"/>
                <a:gd name="connsiteY3" fmla="*/ 284818 h 1293813"/>
                <a:gd name="connsiteX4" fmla="*/ 284818 w 569636"/>
                <a:gd name="connsiteY4" fmla="*/ 94318 h 1293813"/>
                <a:gd name="connsiteX5" fmla="*/ 284818 w 569636"/>
                <a:gd name="connsiteY5" fmla="*/ 0 h 1293813"/>
                <a:gd name="connsiteX6" fmla="*/ 569636 w 569636"/>
                <a:gd name="connsiteY6" fmla="*/ 284818 h 1293813"/>
                <a:gd name="connsiteX7" fmla="*/ 395682 w 569636"/>
                <a:gd name="connsiteY7" fmla="*/ 547254 h 1293813"/>
                <a:gd name="connsiteX8" fmla="*/ 361018 w 569636"/>
                <a:gd name="connsiteY8" fmla="*/ 554252 h 1293813"/>
                <a:gd name="connsiteX9" fmla="*/ 361018 w 569636"/>
                <a:gd name="connsiteY9" fmla="*/ 1293813 h 1293813"/>
                <a:gd name="connsiteX10" fmla="*/ 208618 w 569636"/>
                <a:gd name="connsiteY10" fmla="*/ 1293813 h 1293813"/>
                <a:gd name="connsiteX11" fmla="*/ 208618 w 569636"/>
                <a:gd name="connsiteY11" fmla="*/ 1255436 h 1293813"/>
                <a:gd name="connsiteX12" fmla="*/ 0 w 569636"/>
                <a:gd name="connsiteY12" fmla="*/ 1255436 h 1293813"/>
                <a:gd name="connsiteX13" fmla="*/ 0 w 569636"/>
                <a:gd name="connsiteY13" fmla="*/ 1148210 h 1293813"/>
                <a:gd name="connsiteX14" fmla="*/ 11309 w 569636"/>
                <a:gd name="connsiteY14" fmla="*/ 1150653 h 1293813"/>
                <a:gd name="connsiteX15" fmla="*/ 82514 w 569636"/>
                <a:gd name="connsiteY15" fmla="*/ 1074453 h 1293813"/>
                <a:gd name="connsiteX16" fmla="*/ 11309 w 569636"/>
                <a:gd name="connsiteY16" fmla="*/ 998253 h 1293813"/>
                <a:gd name="connsiteX17" fmla="*/ 0 w 569636"/>
                <a:gd name="connsiteY17" fmla="*/ 1000696 h 1293813"/>
                <a:gd name="connsiteX18" fmla="*/ 0 w 569636"/>
                <a:gd name="connsiteY18" fmla="*/ 912813 h 1293813"/>
                <a:gd name="connsiteX19" fmla="*/ 208618 w 569636"/>
                <a:gd name="connsiteY19" fmla="*/ 912813 h 1293813"/>
                <a:gd name="connsiteX20" fmla="*/ 208618 w 569636"/>
                <a:gd name="connsiteY20" fmla="*/ 554252 h 1293813"/>
                <a:gd name="connsiteX21" fmla="*/ 173954 w 569636"/>
                <a:gd name="connsiteY21" fmla="*/ 547254 h 1293813"/>
                <a:gd name="connsiteX22" fmla="*/ 0 w 569636"/>
                <a:gd name="connsiteY22" fmla="*/ 284818 h 1293813"/>
                <a:gd name="connsiteX23" fmla="*/ 284818 w 569636"/>
                <a:gd name="connsiteY23" fmla="*/ 0 h 129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9636" h="1293813">
                  <a:moveTo>
                    <a:pt x="284818" y="94318"/>
                  </a:moveTo>
                  <a:cubicBezTo>
                    <a:pt x="179608" y="94318"/>
                    <a:pt x="94318" y="179608"/>
                    <a:pt x="94318" y="284818"/>
                  </a:cubicBezTo>
                  <a:cubicBezTo>
                    <a:pt x="94318" y="390028"/>
                    <a:pt x="179608" y="475318"/>
                    <a:pt x="284818" y="475318"/>
                  </a:cubicBezTo>
                  <a:cubicBezTo>
                    <a:pt x="390028" y="475318"/>
                    <a:pt x="475318" y="390028"/>
                    <a:pt x="475318" y="284818"/>
                  </a:cubicBezTo>
                  <a:cubicBezTo>
                    <a:pt x="475318" y="179608"/>
                    <a:pt x="390028" y="94318"/>
                    <a:pt x="284818" y="94318"/>
                  </a:cubicBezTo>
                  <a:close/>
                  <a:moveTo>
                    <a:pt x="284818" y="0"/>
                  </a:moveTo>
                  <a:cubicBezTo>
                    <a:pt x="442119" y="0"/>
                    <a:pt x="569636" y="127517"/>
                    <a:pt x="569636" y="284818"/>
                  </a:cubicBezTo>
                  <a:cubicBezTo>
                    <a:pt x="569636" y="402794"/>
                    <a:pt x="497908" y="504016"/>
                    <a:pt x="395682" y="547254"/>
                  </a:cubicBezTo>
                  <a:lnTo>
                    <a:pt x="361018" y="554252"/>
                  </a:lnTo>
                  <a:lnTo>
                    <a:pt x="361018" y="1293813"/>
                  </a:lnTo>
                  <a:lnTo>
                    <a:pt x="208618" y="1293813"/>
                  </a:lnTo>
                  <a:lnTo>
                    <a:pt x="208618" y="1255436"/>
                  </a:lnTo>
                  <a:lnTo>
                    <a:pt x="0" y="1255436"/>
                  </a:lnTo>
                  <a:lnTo>
                    <a:pt x="0" y="1148210"/>
                  </a:lnTo>
                  <a:lnTo>
                    <a:pt x="11309" y="1150653"/>
                  </a:lnTo>
                  <a:cubicBezTo>
                    <a:pt x="50634" y="1150653"/>
                    <a:pt x="82514" y="1116537"/>
                    <a:pt x="82514" y="1074453"/>
                  </a:cubicBezTo>
                  <a:cubicBezTo>
                    <a:pt x="82514" y="1032369"/>
                    <a:pt x="50634" y="998253"/>
                    <a:pt x="11309" y="998253"/>
                  </a:cubicBezTo>
                  <a:lnTo>
                    <a:pt x="0" y="1000696"/>
                  </a:lnTo>
                  <a:lnTo>
                    <a:pt x="0" y="912813"/>
                  </a:lnTo>
                  <a:lnTo>
                    <a:pt x="208618" y="912813"/>
                  </a:lnTo>
                  <a:lnTo>
                    <a:pt x="208618" y="554252"/>
                  </a:lnTo>
                  <a:lnTo>
                    <a:pt x="173954" y="547254"/>
                  </a:lnTo>
                  <a:cubicBezTo>
                    <a:pt x="71728" y="504016"/>
                    <a:pt x="0" y="402794"/>
                    <a:pt x="0" y="284818"/>
                  </a:cubicBezTo>
                  <a:cubicBezTo>
                    <a:pt x="0" y="127517"/>
                    <a:pt x="127517" y="0"/>
                    <a:pt x="284818"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8" name="Group 7"/>
          <p:cNvGrpSpPr/>
          <p:nvPr/>
        </p:nvGrpSpPr>
        <p:grpSpPr>
          <a:xfrm>
            <a:off x="4591609" y="5389692"/>
            <a:ext cx="3444488" cy="1562964"/>
            <a:chOff x="4645344" y="5249862"/>
            <a:chExt cx="3145798" cy="1427431"/>
          </a:xfrm>
        </p:grpSpPr>
        <p:sp>
          <p:nvSpPr>
            <p:cNvPr id="9" name="Isosceles Triangle 8"/>
            <p:cNvSpPr/>
            <p:nvPr/>
          </p:nvSpPr>
          <p:spPr bwMode="auto">
            <a:xfrm>
              <a:off x="5588307" y="5249862"/>
              <a:ext cx="1259859" cy="1086086"/>
            </a:xfrm>
            <a:prstGeom prst="triangle">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t" anchorCtr="0"/>
            <a:lstStyle/>
            <a:p>
              <a:pPr algn="ctr" defTabSz="932406"/>
              <a:endParaRPr lang="en-US" sz="1600" spc="-102" dirty="0">
                <a:gradFill>
                  <a:gsLst>
                    <a:gs pos="0">
                      <a:schemeClr val="bg1"/>
                    </a:gs>
                    <a:gs pos="100000">
                      <a:schemeClr val="bg1"/>
                    </a:gs>
                  </a:gsLst>
                  <a:lin ang="5400000" scaled="0"/>
                </a:gradFill>
                <a:ea typeface="Segoe UI" pitchFamily="34" charset="0"/>
                <a:cs typeface="Segoe UI" pitchFamily="34" charset="0"/>
              </a:endParaRPr>
            </a:p>
          </p:txBody>
        </p:sp>
        <p:sp>
          <p:nvSpPr>
            <p:cNvPr id="10" name="TextBox 9"/>
            <p:cNvSpPr txBox="1"/>
            <p:nvPr/>
          </p:nvSpPr>
          <p:spPr>
            <a:xfrm>
              <a:off x="4645344" y="6338739"/>
              <a:ext cx="3145798" cy="338554"/>
            </a:xfrm>
            <a:prstGeom prst="rect">
              <a:avLst/>
            </a:prstGeom>
            <a:noFill/>
          </p:spPr>
          <p:txBody>
            <a:bodyPr wrap="none" rtlCol="0">
              <a:spAutoFit/>
            </a:bodyPr>
            <a:lstStyle/>
            <a:p>
              <a:pPr algn="ctr"/>
              <a:r>
                <a:rPr lang="en-US" sz="1600" dirty="0" smtClean="0">
                  <a:gradFill>
                    <a:gsLst>
                      <a:gs pos="0">
                        <a:schemeClr val="tx1"/>
                      </a:gs>
                      <a:gs pos="100000">
                        <a:schemeClr val="tx1"/>
                      </a:gs>
                    </a:gsLst>
                    <a:lin ang="5400000" scaled="0"/>
                  </a:gradFill>
                </a:rPr>
                <a:t>Contoso’s On-Premises Directory</a:t>
              </a:r>
            </a:p>
          </p:txBody>
        </p:sp>
        <p:sp>
          <p:nvSpPr>
            <p:cNvPr id="11" name="Left-Right Arrow 10"/>
            <p:cNvSpPr/>
            <p:nvPr/>
          </p:nvSpPr>
          <p:spPr bwMode="auto">
            <a:xfrm>
              <a:off x="6746001" y="5915369"/>
              <a:ext cx="677562" cy="290384"/>
            </a:xfrm>
            <a:prstGeom prst="lef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ctr" anchorCtr="0"/>
            <a:lstStyle/>
            <a:p>
              <a:pPr algn="ctr" defTabSz="932406"/>
              <a:r>
                <a:rPr lang="en-US" sz="1100" spc="-102" dirty="0" smtClean="0">
                  <a:gradFill>
                    <a:gsLst>
                      <a:gs pos="0">
                        <a:srgbClr val="FFFFFF"/>
                      </a:gs>
                      <a:gs pos="100000">
                        <a:srgbClr val="FFFFFF"/>
                      </a:gs>
                    </a:gsLst>
                    <a:lin ang="5400000" scaled="0"/>
                  </a:gradFill>
                  <a:ea typeface="Segoe UI" pitchFamily="34" charset="0"/>
                  <a:cs typeface="Segoe UI" pitchFamily="34" charset="0"/>
                </a:rPr>
                <a:t>A</a:t>
              </a:r>
              <a:endParaRPr lang="en-US" sz="11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12" name="Left-Right Arrow 11"/>
            <p:cNvSpPr/>
            <p:nvPr/>
          </p:nvSpPr>
          <p:spPr bwMode="auto">
            <a:xfrm>
              <a:off x="5035055" y="5923207"/>
              <a:ext cx="677562" cy="290384"/>
            </a:xfrm>
            <a:prstGeom prst="leftRightArrow">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ctr" anchorCtr="0"/>
            <a:lstStyle/>
            <a:p>
              <a:pPr algn="ctr" defTabSz="932406"/>
              <a:r>
                <a:rPr lang="en-US" sz="1100" spc="-102" dirty="0" smtClean="0">
                  <a:gradFill>
                    <a:gsLst>
                      <a:gs pos="0">
                        <a:srgbClr val="FFFFFF"/>
                      </a:gs>
                      <a:gs pos="100000">
                        <a:srgbClr val="FFFFFF"/>
                      </a:gs>
                    </a:gsLst>
                    <a:lin ang="5400000" scaled="0"/>
                  </a:gradFill>
                  <a:ea typeface="Segoe UI" pitchFamily="34" charset="0"/>
                  <a:cs typeface="Segoe UI" pitchFamily="34" charset="0"/>
                </a:rPr>
                <a:t>M</a:t>
              </a:r>
              <a:endParaRPr lang="en-US" sz="11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2"/>
            <p:cNvSpPr/>
            <p:nvPr/>
          </p:nvSpPr>
          <p:spPr bwMode="auto">
            <a:xfrm>
              <a:off x="6118642" y="5494626"/>
              <a:ext cx="199189" cy="360077"/>
            </a:xfrm>
            <a:custGeom>
              <a:avLst/>
              <a:gdLst>
                <a:gd name="connsiteX0" fmla="*/ 993982 w 1938076"/>
                <a:gd name="connsiteY0" fmla="*/ 706921 h 3503500"/>
                <a:gd name="connsiteX1" fmla="*/ 1086674 w 1938076"/>
                <a:gd name="connsiteY1" fmla="*/ 727483 h 3503500"/>
                <a:gd name="connsiteX2" fmla="*/ 1094101 w 1938076"/>
                <a:gd name="connsiteY2" fmla="*/ 732985 h 3503500"/>
                <a:gd name="connsiteX3" fmla="*/ 1160279 w 1938076"/>
                <a:gd name="connsiteY3" fmla="*/ 756535 h 3503500"/>
                <a:gd name="connsiteX4" fmla="*/ 1840549 w 1938076"/>
                <a:gd name="connsiteY4" fmla="*/ 1149289 h 3503500"/>
                <a:gd name="connsiteX5" fmla="*/ 1917119 w 1938076"/>
                <a:gd name="connsiteY5" fmla="*/ 1389312 h 3503500"/>
                <a:gd name="connsiteX6" fmla="*/ 1670967 w 1938076"/>
                <a:gd name="connsiteY6" fmla="*/ 1443012 h 3503500"/>
                <a:gd name="connsiteX7" fmla="*/ 1232107 w 1938076"/>
                <a:gd name="connsiteY7" fmla="*/ 1189637 h 3503500"/>
                <a:gd name="connsiteX8" fmla="*/ 1232107 w 1938076"/>
                <a:gd name="connsiteY8" fmla="*/ 2071559 h 3503500"/>
                <a:gd name="connsiteX9" fmla="*/ 1227350 w 1938076"/>
                <a:gd name="connsiteY9" fmla="*/ 2123404 h 3503500"/>
                <a:gd name="connsiteX10" fmla="*/ 1232751 w 1938076"/>
                <a:gd name="connsiteY10" fmla="*/ 2127041 h 3503500"/>
                <a:gd name="connsiteX11" fmla="*/ 1296572 w 1938076"/>
                <a:gd name="connsiteY11" fmla="*/ 2207782 h 3503500"/>
                <a:gd name="connsiteX12" fmla="*/ 1848074 w 1938076"/>
                <a:gd name="connsiteY12" fmla="*/ 3163012 h 3503500"/>
                <a:gd name="connsiteX13" fmla="*/ 1814681 w 1938076"/>
                <a:gd name="connsiteY13" fmla="*/ 3484401 h 3503500"/>
                <a:gd name="connsiteX14" fmla="*/ 1519652 w 1938076"/>
                <a:gd name="connsiteY14" fmla="*/ 3352626 h 3503500"/>
                <a:gd name="connsiteX15" fmla="*/ 982472 w 1938076"/>
                <a:gd name="connsiteY15" fmla="*/ 2422203 h 3503500"/>
                <a:gd name="connsiteX16" fmla="*/ 445292 w 1938076"/>
                <a:gd name="connsiteY16" fmla="*/ 3352626 h 3503500"/>
                <a:gd name="connsiteX17" fmla="*/ 150263 w 1938076"/>
                <a:gd name="connsiteY17" fmla="*/ 3484402 h 3503500"/>
                <a:gd name="connsiteX18" fmla="*/ 116869 w 1938076"/>
                <a:gd name="connsiteY18" fmla="*/ 3163011 h 3503500"/>
                <a:gd name="connsiteX19" fmla="*/ 668372 w 1938076"/>
                <a:gd name="connsiteY19" fmla="*/ 2207783 h 3503500"/>
                <a:gd name="connsiteX20" fmla="*/ 714653 w 1938076"/>
                <a:gd name="connsiteY20" fmla="*/ 2144671 h 3503500"/>
                <a:gd name="connsiteX21" fmla="*/ 759050 w 1938076"/>
                <a:gd name="connsiteY21" fmla="*/ 2106359 h 3503500"/>
                <a:gd name="connsiteX22" fmla="*/ 755857 w 1938076"/>
                <a:gd name="connsiteY22" fmla="*/ 2071559 h 3503500"/>
                <a:gd name="connsiteX23" fmla="*/ 755857 w 1938076"/>
                <a:gd name="connsiteY23" fmla="*/ 1160834 h 3503500"/>
                <a:gd name="connsiteX24" fmla="*/ 267109 w 1938076"/>
                <a:gd name="connsiteY24" fmla="*/ 1443012 h 3503500"/>
                <a:gd name="connsiteX25" fmla="*/ 20957 w 1938076"/>
                <a:gd name="connsiteY25" fmla="*/ 1389312 h 3503500"/>
                <a:gd name="connsiteX26" fmla="*/ 97527 w 1938076"/>
                <a:gd name="connsiteY26" fmla="*/ 1149289 h 3503500"/>
                <a:gd name="connsiteX27" fmla="*/ 777797 w 1938076"/>
                <a:gd name="connsiteY27" fmla="*/ 756535 h 3503500"/>
                <a:gd name="connsiteX28" fmla="*/ 847265 w 1938076"/>
                <a:gd name="connsiteY28" fmla="*/ 731815 h 3503500"/>
                <a:gd name="connsiteX29" fmla="*/ 893762 w 1938076"/>
                <a:gd name="connsiteY29" fmla="*/ 733060 h 3503500"/>
                <a:gd name="connsiteX30" fmla="*/ 901290 w 1938076"/>
                <a:gd name="connsiteY30" fmla="*/ 727483 h 3503500"/>
                <a:gd name="connsiteX31" fmla="*/ 993982 w 1938076"/>
                <a:gd name="connsiteY31" fmla="*/ 706921 h 3503500"/>
                <a:gd name="connsiteX32" fmla="*/ 993981 w 1938076"/>
                <a:gd name="connsiteY32" fmla="*/ 0 h 3503500"/>
                <a:gd name="connsiteX33" fmla="*/ 1336881 w 1938076"/>
                <a:gd name="connsiteY33" fmla="*/ 342900 h 3503500"/>
                <a:gd name="connsiteX34" fmla="*/ 993981 w 1938076"/>
                <a:gd name="connsiteY34" fmla="*/ 685800 h 3503500"/>
                <a:gd name="connsiteX35" fmla="*/ 651081 w 1938076"/>
                <a:gd name="connsiteY35" fmla="*/ 342900 h 3503500"/>
                <a:gd name="connsiteX36" fmla="*/ 993981 w 1938076"/>
                <a:gd name="connsiteY36" fmla="*/ 0 h 35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8076" h="3503500">
                  <a:moveTo>
                    <a:pt x="993982" y="706921"/>
                  </a:moveTo>
                  <a:cubicBezTo>
                    <a:pt x="1026862" y="706921"/>
                    <a:pt x="1058185" y="714243"/>
                    <a:pt x="1086674" y="727483"/>
                  </a:cubicBezTo>
                  <a:lnTo>
                    <a:pt x="1094101" y="732985"/>
                  </a:lnTo>
                  <a:lnTo>
                    <a:pt x="1160279" y="756535"/>
                  </a:lnTo>
                  <a:lnTo>
                    <a:pt x="1840549" y="1149289"/>
                  </a:lnTo>
                  <a:cubicBezTo>
                    <a:pt x="1929657" y="1200736"/>
                    <a:pt x="1963949" y="1308199"/>
                    <a:pt x="1917119" y="1389312"/>
                  </a:cubicBezTo>
                  <a:cubicBezTo>
                    <a:pt x="1870287" y="1470426"/>
                    <a:pt x="1760075" y="1494459"/>
                    <a:pt x="1670967" y="1443012"/>
                  </a:cubicBezTo>
                  <a:lnTo>
                    <a:pt x="1232107" y="1189637"/>
                  </a:lnTo>
                  <a:lnTo>
                    <a:pt x="1232107" y="2071559"/>
                  </a:lnTo>
                  <a:lnTo>
                    <a:pt x="1227350" y="2123404"/>
                  </a:lnTo>
                  <a:lnTo>
                    <a:pt x="1232751" y="2127041"/>
                  </a:lnTo>
                  <a:cubicBezTo>
                    <a:pt x="1256711" y="2149351"/>
                    <a:pt x="1278511" y="2176501"/>
                    <a:pt x="1296572" y="2207782"/>
                  </a:cubicBezTo>
                  <a:lnTo>
                    <a:pt x="1848074" y="3163012"/>
                  </a:lnTo>
                  <a:cubicBezTo>
                    <a:pt x="1920315" y="3288137"/>
                    <a:pt x="1905376" y="3432038"/>
                    <a:pt x="1814681" y="3484401"/>
                  </a:cubicBezTo>
                  <a:cubicBezTo>
                    <a:pt x="1723984" y="3536765"/>
                    <a:pt x="1591893" y="3477752"/>
                    <a:pt x="1519652" y="3352626"/>
                  </a:cubicBezTo>
                  <a:lnTo>
                    <a:pt x="982472" y="2422203"/>
                  </a:lnTo>
                  <a:lnTo>
                    <a:pt x="445292" y="3352626"/>
                  </a:lnTo>
                  <a:cubicBezTo>
                    <a:pt x="373050" y="3477752"/>
                    <a:pt x="240960" y="3536765"/>
                    <a:pt x="150263" y="3484402"/>
                  </a:cubicBezTo>
                  <a:cubicBezTo>
                    <a:pt x="59567" y="3432038"/>
                    <a:pt x="44629" y="3288137"/>
                    <a:pt x="116869" y="3163011"/>
                  </a:cubicBezTo>
                  <a:lnTo>
                    <a:pt x="668372" y="2207783"/>
                  </a:lnTo>
                  <a:cubicBezTo>
                    <a:pt x="681918" y="2184322"/>
                    <a:pt x="697567" y="2163185"/>
                    <a:pt x="714653" y="2144671"/>
                  </a:cubicBezTo>
                  <a:lnTo>
                    <a:pt x="759050" y="2106359"/>
                  </a:lnTo>
                  <a:lnTo>
                    <a:pt x="755857" y="2071559"/>
                  </a:lnTo>
                  <a:lnTo>
                    <a:pt x="755857" y="1160834"/>
                  </a:lnTo>
                  <a:lnTo>
                    <a:pt x="267109" y="1443012"/>
                  </a:lnTo>
                  <a:cubicBezTo>
                    <a:pt x="178001" y="1494459"/>
                    <a:pt x="67789" y="1470426"/>
                    <a:pt x="20957" y="1389312"/>
                  </a:cubicBezTo>
                  <a:cubicBezTo>
                    <a:pt x="-25874" y="1308198"/>
                    <a:pt x="8419" y="1200735"/>
                    <a:pt x="97527" y="1149289"/>
                  </a:cubicBezTo>
                  <a:lnTo>
                    <a:pt x="777797" y="756535"/>
                  </a:lnTo>
                  <a:cubicBezTo>
                    <a:pt x="800074" y="743673"/>
                    <a:pt x="823670" y="735529"/>
                    <a:pt x="847265" y="731815"/>
                  </a:cubicBezTo>
                  <a:lnTo>
                    <a:pt x="893762" y="733060"/>
                  </a:lnTo>
                  <a:lnTo>
                    <a:pt x="901290" y="727483"/>
                  </a:lnTo>
                  <a:cubicBezTo>
                    <a:pt x="929779" y="714243"/>
                    <a:pt x="961102" y="706921"/>
                    <a:pt x="993982" y="706921"/>
                  </a:cubicBezTo>
                  <a:close/>
                  <a:moveTo>
                    <a:pt x="993981" y="0"/>
                  </a:moveTo>
                  <a:cubicBezTo>
                    <a:pt x="1183359" y="0"/>
                    <a:pt x="1336881" y="153522"/>
                    <a:pt x="1336881" y="342900"/>
                  </a:cubicBezTo>
                  <a:cubicBezTo>
                    <a:pt x="1336881" y="532278"/>
                    <a:pt x="1183359" y="685800"/>
                    <a:pt x="993981" y="685800"/>
                  </a:cubicBezTo>
                  <a:cubicBezTo>
                    <a:pt x="804603" y="685800"/>
                    <a:pt x="651081" y="532278"/>
                    <a:pt x="651081" y="342900"/>
                  </a:cubicBezTo>
                  <a:cubicBezTo>
                    <a:pt x="651081" y="153522"/>
                    <a:pt x="804603" y="0"/>
                    <a:pt x="99398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14" name="Freeform 13"/>
            <p:cNvSpPr/>
            <p:nvPr/>
          </p:nvSpPr>
          <p:spPr bwMode="auto">
            <a:xfrm>
              <a:off x="5931715" y="5889708"/>
              <a:ext cx="199189" cy="360077"/>
            </a:xfrm>
            <a:custGeom>
              <a:avLst/>
              <a:gdLst>
                <a:gd name="connsiteX0" fmla="*/ 993982 w 1938076"/>
                <a:gd name="connsiteY0" fmla="*/ 706921 h 3503500"/>
                <a:gd name="connsiteX1" fmla="*/ 1086674 w 1938076"/>
                <a:gd name="connsiteY1" fmla="*/ 727483 h 3503500"/>
                <a:gd name="connsiteX2" fmla="*/ 1094101 w 1938076"/>
                <a:gd name="connsiteY2" fmla="*/ 732985 h 3503500"/>
                <a:gd name="connsiteX3" fmla="*/ 1160279 w 1938076"/>
                <a:gd name="connsiteY3" fmla="*/ 756535 h 3503500"/>
                <a:gd name="connsiteX4" fmla="*/ 1840549 w 1938076"/>
                <a:gd name="connsiteY4" fmla="*/ 1149289 h 3503500"/>
                <a:gd name="connsiteX5" fmla="*/ 1917119 w 1938076"/>
                <a:gd name="connsiteY5" fmla="*/ 1389312 h 3503500"/>
                <a:gd name="connsiteX6" fmla="*/ 1670967 w 1938076"/>
                <a:gd name="connsiteY6" fmla="*/ 1443012 h 3503500"/>
                <a:gd name="connsiteX7" fmla="*/ 1232107 w 1938076"/>
                <a:gd name="connsiteY7" fmla="*/ 1189637 h 3503500"/>
                <a:gd name="connsiteX8" fmla="*/ 1232107 w 1938076"/>
                <a:gd name="connsiteY8" fmla="*/ 2071559 h 3503500"/>
                <a:gd name="connsiteX9" fmla="*/ 1227350 w 1938076"/>
                <a:gd name="connsiteY9" fmla="*/ 2123404 h 3503500"/>
                <a:gd name="connsiteX10" fmla="*/ 1232751 w 1938076"/>
                <a:gd name="connsiteY10" fmla="*/ 2127041 h 3503500"/>
                <a:gd name="connsiteX11" fmla="*/ 1296572 w 1938076"/>
                <a:gd name="connsiteY11" fmla="*/ 2207782 h 3503500"/>
                <a:gd name="connsiteX12" fmla="*/ 1848074 w 1938076"/>
                <a:gd name="connsiteY12" fmla="*/ 3163012 h 3503500"/>
                <a:gd name="connsiteX13" fmla="*/ 1814681 w 1938076"/>
                <a:gd name="connsiteY13" fmla="*/ 3484401 h 3503500"/>
                <a:gd name="connsiteX14" fmla="*/ 1519652 w 1938076"/>
                <a:gd name="connsiteY14" fmla="*/ 3352626 h 3503500"/>
                <a:gd name="connsiteX15" fmla="*/ 982472 w 1938076"/>
                <a:gd name="connsiteY15" fmla="*/ 2422203 h 3503500"/>
                <a:gd name="connsiteX16" fmla="*/ 445292 w 1938076"/>
                <a:gd name="connsiteY16" fmla="*/ 3352626 h 3503500"/>
                <a:gd name="connsiteX17" fmla="*/ 150263 w 1938076"/>
                <a:gd name="connsiteY17" fmla="*/ 3484402 h 3503500"/>
                <a:gd name="connsiteX18" fmla="*/ 116869 w 1938076"/>
                <a:gd name="connsiteY18" fmla="*/ 3163011 h 3503500"/>
                <a:gd name="connsiteX19" fmla="*/ 668372 w 1938076"/>
                <a:gd name="connsiteY19" fmla="*/ 2207783 h 3503500"/>
                <a:gd name="connsiteX20" fmla="*/ 714653 w 1938076"/>
                <a:gd name="connsiteY20" fmla="*/ 2144671 h 3503500"/>
                <a:gd name="connsiteX21" fmla="*/ 759050 w 1938076"/>
                <a:gd name="connsiteY21" fmla="*/ 2106359 h 3503500"/>
                <a:gd name="connsiteX22" fmla="*/ 755857 w 1938076"/>
                <a:gd name="connsiteY22" fmla="*/ 2071559 h 3503500"/>
                <a:gd name="connsiteX23" fmla="*/ 755857 w 1938076"/>
                <a:gd name="connsiteY23" fmla="*/ 1160834 h 3503500"/>
                <a:gd name="connsiteX24" fmla="*/ 267109 w 1938076"/>
                <a:gd name="connsiteY24" fmla="*/ 1443012 h 3503500"/>
                <a:gd name="connsiteX25" fmla="*/ 20957 w 1938076"/>
                <a:gd name="connsiteY25" fmla="*/ 1389312 h 3503500"/>
                <a:gd name="connsiteX26" fmla="*/ 97527 w 1938076"/>
                <a:gd name="connsiteY26" fmla="*/ 1149289 h 3503500"/>
                <a:gd name="connsiteX27" fmla="*/ 777797 w 1938076"/>
                <a:gd name="connsiteY27" fmla="*/ 756535 h 3503500"/>
                <a:gd name="connsiteX28" fmla="*/ 847265 w 1938076"/>
                <a:gd name="connsiteY28" fmla="*/ 731815 h 3503500"/>
                <a:gd name="connsiteX29" fmla="*/ 893762 w 1938076"/>
                <a:gd name="connsiteY29" fmla="*/ 733060 h 3503500"/>
                <a:gd name="connsiteX30" fmla="*/ 901290 w 1938076"/>
                <a:gd name="connsiteY30" fmla="*/ 727483 h 3503500"/>
                <a:gd name="connsiteX31" fmla="*/ 993982 w 1938076"/>
                <a:gd name="connsiteY31" fmla="*/ 706921 h 3503500"/>
                <a:gd name="connsiteX32" fmla="*/ 993981 w 1938076"/>
                <a:gd name="connsiteY32" fmla="*/ 0 h 3503500"/>
                <a:gd name="connsiteX33" fmla="*/ 1336881 w 1938076"/>
                <a:gd name="connsiteY33" fmla="*/ 342900 h 3503500"/>
                <a:gd name="connsiteX34" fmla="*/ 993981 w 1938076"/>
                <a:gd name="connsiteY34" fmla="*/ 685800 h 3503500"/>
                <a:gd name="connsiteX35" fmla="*/ 651081 w 1938076"/>
                <a:gd name="connsiteY35" fmla="*/ 342900 h 3503500"/>
                <a:gd name="connsiteX36" fmla="*/ 993981 w 1938076"/>
                <a:gd name="connsiteY36" fmla="*/ 0 h 35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8076" h="3503500">
                  <a:moveTo>
                    <a:pt x="993982" y="706921"/>
                  </a:moveTo>
                  <a:cubicBezTo>
                    <a:pt x="1026862" y="706921"/>
                    <a:pt x="1058185" y="714243"/>
                    <a:pt x="1086674" y="727483"/>
                  </a:cubicBezTo>
                  <a:lnTo>
                    <a:pt x="1094101" y="732985"/>
                  </a:lnTo>
                  <a:lnTo>
                    <a:pt x="1160279" y="756535"/>
                  </a:lnTo>
                  <a:lnTo>
                    <a:pt x="1840549" y="1149289"/>
                  </a:lnTo>
                  <a:cubicBezTo>
                    <a:pt x="1929657" y="1200736"/>
                    <a:pt x="1963949" y="1308199"/>
                    <a:pt x="1917119" y="1389312"/>
                  </a:cubicBezTo>
                  <a:cubicBezTo>
                    <a:pt x="1870287" y="1470426"/>
                    <a:pt x="1760075" y="1494459"/>
                    <a:pt x="1670967" y="1443012"/>
                  </a:cubicBezTo>
                  <a:lnTo>
                    <a:pt x="1232107" y="1189637"/>
                  </a:lnTo>
                  <a:lnTo>
                    <a:pt x="1232107" y="2071559"/>
                  </a:lnTo>
                  <a:lnTo>
                    <a:pt x="1227350" y="2123404"/>
                  </a:lnTo>
                  <a:lnTo>
                    <a:pt x="1232751" y="2127041"/>
                  </a:lnTo>
                  <a:cubicBezTo>
                    <a:pt x="1256711" y="2149351"/>
                    <a:pt x="1278511" y="2176501"/>
                    <a:pt x="1296572" y="2207782"/>
                  </a:cubicBezTo>
                  <a:lnTo>
                    <a:pt x="1848074" y="3163012"/>
                  </a:lnTo>
                  <a:cubicBezTo>
                    <a:pt x="1920315" y="3288137"/>
                    <a:pt x="1905376" y="3432038"/>
                    <a:pt x="1814681" y="3484401"/>
                  </a:cubicBezTo>
                  <a:cubicBezTo>
                    <a:pt x="1723984" y="3536765"/>
                    <a:pt x="1591893" y="3477752"/>
                    <a:pt x="1519652" y="3352626"/>
                  </a:cubicBezTo>
                  <a:lnTo>
                    <a:pt x="982472" y="2422203"/>
                  </a:lnTo>
                  <a:lnTo>
                    <a:pt x="445292" y="3352626"/>
                  </a:lnTo>
                  <a:cubicBezTo>
                    <a:pt x="373050" y="3477752"/>
                    <a:pt x="240960" y="3536765"/>
                    <a:pt x="150263" y="3484402"/>
                  </a:cubicBezTo>
                  <a:cubicBezTo>
                    <a:pt x="59567" y="3432038"/>
                    <a:pt x="44629" y="3288137"/>
                    <a:pt x="116869" y="3163011"/>
                  </a:cubicBezTo>
                  <a:lnTo>
                    <a:pt x="668372" y="2207783"/>
                  </a:lnTo>
                  <a:cubicBezTo>
                    <a:pt x="681918" y="2184322"/>
                    <a:pt x="697567" y="2163185"/>
                    <a:pt x="714653" y="2144671"/>
                  </a:cubicBezTo>
                  <a:lnTo>
                    <a:pt x="759050" y="2106359"/>
                  </a:lnTo>
                  <a:lnTo>
                    <a:pt x="755857" y="2071559"/>
                  </a:lnTo>
                  <a:lnTo>
                    <a:pt x="755857" y="1160834"/>
                  </a:lnTo>
                  <a:lnTo>
                    <a:pt x="267109" y="1443012"/>
                  </a:lnTo>
                  <a:cubicBezTo>
                    <a:pt x="178001" y="1494459"/>
                    <a:pt x="67789" y="1470426"/>
                    <a:pt x="20957" y="1389312"/>
                  </a:cubicBezTo>
                  <a:cubicBezTo>
                    <a:pt x="-25874" y="1308198"/>
                    <a:pt x="8419" y="1200735"/>
                    <a:pt x="97527" y="1149289"/>
                  </a:cubicBezTo>
                  <a:lnTo>
                    <a:pt x="777797" y="756535"/>
                  </a:lnTo>
                  <a:cubicBezTo>
                    <a:pt x="800074" y="743673"/>
                    <a:pt x="823670" y="735529"/>
                    <a:pt x="847265" y="731815"/>
                  </a:cubicBezTo>
                  <a:lnTo>
                    <a:pt x="893762" y="733060"/>
                  </a:lnTo>
                  <a:lnTo>
                    <a:pt x="901290" y="727483"/>
                  </a:lnTo>
                  <a:cubicBezTo>
                    <a:pt x="929779" y="714243"/>
                    <a:pt x="961102" y="706921"/>
                    <a:pt x="993982" y="706921"/>
                  </a:cubicBezTo>
                  <a:close/>
                  <a:moveTo>
                    <a:pt x="993981" y="0"/>
                  </a:moveTo>
                  <a:cubicBezTo>
                    <a:pt x="1183359" y="0"/>
                    <a:pt x="1336881" y="153522"/>
                    <a:pt x="1336881" y="342900"/>
                  </a:cubicBezTo>
                  <a:cubicBezTo>
                    <a:pt x="1336881" y="532278"/>
                    <a:pt x="1183359" y="685800"/>
                    <a:pt x="993981" y="685800"/>
                  </a:cubicBezTo>
                  <a:cubicBezTo>
                    <a:pt x="804603" y="685800"/>
                    <a:pt x="651081" y="532278"/>
                    <a:pt x="651081" y="342900"/>
                  </a:cubicBezTo>
                  <a:cubicBezTo>
                    <a:pt x="651081" y="153522"/>
                    <a:pt x="804603" y="0"/>
                    <a:pt x="99398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6305568" y="5887557"/>
              <a:ext cx="199189" cy="360077"/>
            </a:xfrm>
            <a:custGeom>
              <a:avLst/>
              <a:gdLst>
                <a:gd name="connsiteX0" fmla="*/ 993982 w 1938076"/>
                <a:gd name="connsiteY0" fmla="*/ 706921 h 3503500"/>
                <a:gd name="connsiteX1" fmla="*/ 1086674 w 1938076"/>
                <a:gd name="connsiteY1" fmla="*/ 727483 h 3503500"/>
                <a:gd name="connsiteX2" fmla="*/ 1094101 w 1938076"/>
                <a:gd name="connsiteY2" fmla="*/ 732985 h 3503500"/>
                <a:gd name="connsiteX3" fmla="*/ 1160279 w 1938076"/>
                <a:gd name="connsiteY3" fmla="*/ 756535 h 3503500"/>
                <a:gd name="connsiteX4" fmla="*/ 1840549 w 1938076"/>
                <a:gd name="connsiteY4" fmla="*/ 1149289 h 3503500"/>
                <a:gd name="connsiteX5" fmla="*/ 1917119 w 1938076"/>
                <a:gd name="connsiteY5" fmla="*/ 1389312 h 3503500"/>
                <a:gd name="connsiteX6" fmla="*/ 1670967 w 1938076"/>
                <a:gd name="connsiteY6" fmla="*/ 1443012 h 3503500"/>
                <a:gd name="connsiteX7" fmla="*/ 1232107 w 1938076"/>
                <a:gd name="connsiteY7" fmla="*/ 1189637 h 3503500"/>
                <a:gd name="connsiteX8" fmla="*/ 1232107 w 1938076"/>
                <a:gd name="connsiteY8" fmla="*/ 2071559 h 3503500"/>
                <a:gd name="connsiteX9" fmla="*/ 1227350 w 1938076"/>
                <a:gd name="connsiteY9" fmla="*/ 2123404 h 3503500"/>
                <a:gd name="connsiteX10" fmla="*/ 1232751 w 1938076"/>
                <a:gd name="connsiteY10" fmla="*/ 2127041 h 3503500"/>
                <a:gd name="connsiteX11" fmla="*/ 1296572 w 1938076"/>
                <a:gd name="connsiteY11" fmla="*/ 2207782 h 3503500"/>
                <a:gd name="connsiteX12" fmla="*/ 1848074 w 1938076"/>
                <a:gd name="connsiteY12" fmla="*/ 3163012 h 3503500"/>
                <a:gd name="connsiteX13" fmla="*/ 1814681 w 1938076"/>
                <a:gd name="connsiteY13" fmla="*/ 3484401 h 3503500"/>
                <a:gd name="connsiteX14" fmla="*/ 1519652 w 1938076"/>
                <a:gd name="connsiteY14" fmla="*/ 3352626 h 3503500"/>
                <a:gd name="connsiteX15" fmla="*/ 982472 w 1938076"/>
                <a:gd name="connsiteY15" fmla="*/ 2422203 h 3503500"/>
                <a:gd name="connsiteX16" fmla="*/ 445292 w 1938076"/>
                <a:gd name="connsiteY16" fmla="*/ 3352626 h 3503500"/>
                <a:gd name="connsiteX17" fmla="*/ 150263 w 1938076"/>
                <a:gd name="connsiteY17" fmla="*/ 3484402 h 3503500"/>
                <a:gd name="connsiteX18" fmla="*/ 116869 w 1938076"/>
                <a:gd name="connsiteY18" fmla="*/ 3163011 h 3503500"/>
                <a:gd name="connsiteX19" fmla="*/ 668372 w 1938076"/>
                <a:gd name="connsiteY19" fmla="*/ 2207783 h 3503500"/>
                <a:gd name="connsiteX20" fmla="*/ 714653 w 1938076"/>
                <a:gd name="connsiteY20" fmla="*/ 2144671 h 3503500"/>
                <a:gd name="connsiteX21" fmla="*/ 759050 w 1938076"/>
                <a:gd name="connsiteY21" fmla="*/ 2106359 h 3503500"/>
                <a:gd name="connsiteX22" fmla="*/ 755857 w 1938076"/>
                <a:gd name="connsiteY22" fmla="*/ 2071559 h 3503500"/>
                <a:gd name="connsiteX23" fmla="*/ 755857 w 1938076"/>
                <a:gd name="connsiteY23" fmla="*/ 1160834 h 3503500"/>
                <a:gd name="connsiteX24" fmla="*/ 267109 w 1938076"/>
                <a:gd name="connsiteY24" fmla="*/ 1443012 h 3503500"/>
                <a:gd name="connsiteX25" fmla="*/ 20957 w 1938076"/>
                <a:gd name="connsiteY25" fmla="*/ 1389312 h 3503500"/>
                <a:gd name="connsiteX26" fmla="*/ 97527 w 1938076"/>
                <a:gd name="connsiteY26" fmla="*/ 1149289 h 3503500"/>
                <a:gd name="connsiteX27" fmla="*/ 777797 w 1938076"/>
                <a:gd name="connsiteY27" fmla="*/ 756535 h 3503500"/>
                <a:gd name="connsiteX28" fmla="*/ 847265 w 1938076"/>
                <a:gd name="connsiteY28" fmla="*/ 731815 h 3503500"/>
                <a:gd name="connsiteX29" fmla="*/ 893762 w 1938076"/>
                <a:gd name="connsiteY29" fmla="*/ 733060 h 3503500"/>
                <a:gd name="connsiteX30" fmla="*/ 901290 w 1938076"/>
                <a:gd name="connsiteY30" fmla="*/ 727483 h 3503500"/>
                <a:gd name="connsiteX31" fmla="*/ 993982 w 1938076"/>
                <a:gd name="connsiteY31" fmla="*/ 706921 h 3503500"/>
                <a:gd name="connsiteX32" fmla="*/ 993981 w 1938076"/>
                <a:gd name="connsiteY32" fmla="*/ 0 h 3503500"/>
                <a:gd name="connsiteX33" fmla="*/ 1336881 w 1938076"/>
                <a:gd name="connsiteY33" fmla="*/ 342900 h 3503500"/>
                <a:gd name="connsiteX34" fmla="*/ 993981 w 1938076"/>
                <a:gd name="connsiteY34" fmla="*/ 685800 h 3503500"/>
                <a:gd name="connsiteX35" fmla="*/ 651081 w 1938076"/>
                <a:gd name="connsiteY35" fmla="*/ 342900 h 3503500"/>
                <a:gd name="connsiteX36" fmla="*/ 993981 w 1938076"/>
                <a:gd name="connsiteY36" fmla="*/ 0 h 35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8076" h="3503500">
                  <a:moveTo>
                    <a:pt x="993982" y="706921"/>
                  </a:moveTo>
                  <a:cubicBezTo>
                    <a:pt x="1026862" y="706921"/>
                    <a:pt x="1058185" y="714243"/>
                    <a:pt x="1086674" y="727483"/>
                  </a:cubicBezTo>
                  <a:lnTo>
                    <a:pt x="1094101" y="732985"/>
                  </a:lnTo>
                  <a:lnTo>
                    <a:pt x="1160279" y="756535"/>
                  </a:lnTo>
                  <a:lnTo>
                    <a:pt x="1840549" y="1149289"/>
                  </a:lnTo>
                  <a:cubicBezTo>
                    <a:pt x="1929657" y="1200736"/>
                    <a:pt x="1963949" y="1308199"/>
                    <a:pt x="1917119" y="1389312"/>
                  </a:cubicBezTo>
                  <a:cubicBezTo>
                    <a:pt x="1870287" y="1470426"/>
                    <a:pt x="1760075" y="1494459"/>
                    <a:pt x="1670967" y="1443012"/>
                  </a:cubicBezTo>
                  <a:lnTo>
                    <a:pt x="1232107" y="1189637"/>
                  </a:lnTo>
                  <a:lnTo>
                    <a:pt x="1232107" y="2071559"/>
                  </a:lnTo>
                  <a:lnTo>
                    <a:pt x="1227350" y="2123404"/>
                  </a:lnTo>
                  <a:lnTo>
                    <a:pt x="1232751" y="2127041"/>
                  </a:lnTo>
                  <a:cubicBezTo>
                    <a:pt x="1256711" y="2149351"/>
                    <a:pt x="1278511" y="2176501"/>
                    <a:pt x="1296572" y="2207782"/>
                  </a:cubicBezTo>
                  <a:lnTo>
                    <a:pt x="1848074" y="3163012"/>
                  </a:lnTo>
                  <a:cubicBezTo>
                    <a:pt x="1920315" y="3288137"/>
                    <a:pt x="1905376" y="3432038"/>
                    <a:pt x="1814681" y="3484401"/>
                  </a:cubicBezTo>
                  <a:cubicBezTo>
                    <a:pt x="1723984" y="3536765"/>
                    <a:pt x="1591893" y="3477752"/>
                    <a:pt x="1519652" y="3352626"/>
                  </a:cubicBezTo>
                  <a:lnTo>
                    <a:pt x="982472" y="2422203"/>
                  </a:lnTo>
                  <a:lnTo>
                    <a:pt x="445292" y="3352626"/>
                  </a:lnTo>
                  <a:cubicBezTo>
                    <a:pt x="373050" y="3477752"/>
                    <a:pt x="240960" y="3536765"/>
                    <a:pt x="150263" y="3484402"/>
                  </a:cubicBezTo>
                  <a:cubicBezTo>
                    <a:pt x="59567" y="3432038"/>
                    <a:pt x="44629" y="3288137"/>
                    <a:pt x="116869" y="3163011"/>
                  </a:cubicBezTo>
                  <a:lnTo>
                    <a:pt x="668372" y="2207783"/>
                  </a:lnTo>
                  <a:cubicBezTo>
                    <a:pt x="681918" y="2184322"/>
                    <a:pt x="697567" y="2163185"/>
                    <a:pt x="714653" y="2144671"/>
                  </a:cubicBezTo>
                  <a:lnTo>
                    <a:pt x="759050" y="2106359"/>
                  </a:lnTo>
                  <a:lnTo>
                    <a:pt x="755857" y="2071559"/>
                  </a:lnTo>
                  <a:lnTo>
                    <a:pt x="755857" y="1160834"/>
                  </a:lnTo>
                  <a:lnTo>
                    <a:pt x="267109" y="1443012"/>
                  </a:lnTo>
                  <a:cubicBezTo>
                    <a:pt x="178001" y="1494459"/>
                    <a:pt x="67789" y="1470426"/>
                    <a:pt x="20957" y="1389312"/>
                  </a:cubicBezTo>
                  <a:cubicBezTo>
                    <a:pt x="-25874" y="1308198"/>
                    <a:pt x="8419" y="1200735"/>
                    <a:pt x="97527" y="1149289"/>
                  </a:cubicBezTo>
                  <a:lnTo>
                    <a:pt x="777797" y="756535"/>
                  </a:lnTo>
                  <a:cubicBezTo>
                    <a:pt x="800074" y="743673"/>
                    <a:pt x="823670" y="735529"/>
                    <a:pt x="847265" y="731815"/>
                  </a:cubicBezTo>
                  <a:lnTo>
                    <a:pt x="893762" y="733060"/>
                  </a:lnTo>
                  <a:lnTo>
                    <a:pt x="901290" y="727483"/>
                  </a:lnTo>
                  <a:cubicBezTo>
                    <a:pt x="929779" y="714243"/>
                    <a:pt x="961102" y="706921"/>
                    <a:pt x="993982" y="706921"/>
                  </a:cubicBezTo>
                  <a:close/>
                  <a:moveTo>
                    <a:pt x="993981" y="0"/>
                  </a:moveTo>
                  <a:cubicBezTo>
                    <a:pt x="1183359" y="0"/>
                    <a:pt x="1336881" y="153522"/>
                    <a:pt x="1336881" y="342900"/>
                  </a:cubicBezTo>
                  <a:cubicBezTo>
                    <a:pt x="1336881" y="532278"/>
                    <a:pt x="1183359" y="685800"/>
                    <a:pt x="993981" y="685800"/>
                  </a:cubicBezTo>
                  <a:cubicBezTo>
                    <a:pt x="804603" y="685800"/>
                    <a:pt x="651081" y="532278"/>
                    <a:pt x="651081" y="342900"/>
                  </a:cubicBezTo>
                  <a:cubicBezTo>
                    <a:pt x="651081" y="153522"/>
                    <a:pt x="804603" y="0"/>
                    <a:pt x="99398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16" name="Rounded Rectangle 15"/>
            <p:cNvSpPr/>
            <p:nvPr/>
          </p:nvSpPr>
          <p:spPr bwMode="auto">
            <a:xfrm>
              <a:off x="5876397" y="5887557"/>
              <a:ext cx="683678" cy="369256"/>
            </a:xfrm>
            <a:prstGeom prst="roundRect">
              <a:avLst/>
            </a:prstGeom>
            <a:no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t" anchorCtr="0" forceAA="0" compatLnSpc="1">
              <a:prstTxWarp prst="textNoShape">
                <a:avLst/>
              </a:prstTxWarp>
              <a:noAutofit/>
            </a:bodyPr>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custDataLst>
              <p:custData r:id="rId1"/>
            </p:custDataLst>
          </p:nvPr>
        </p:nvGrpSpPr>
        <p:grpSpPr>
          <a:xfrm>
            <a:off x="4443304" y="1260184"/>
            <a:ext cx="3741098" cy="3281726"/>
            <a:chOff x="4354914" y="1177508"/>
            <a:chExt cx="3741098" cy="3281726"/>
          </a:xfrm>
        </p:grpSpPr>
        <p:sp>
          <p:nvSpPr>
            <p:cNvPr id="18" name="TextBox 17"/>
            <p:cNvSpPr txBox="1"/>
            <p:nvPr/>
          </p:nvSpPr>
          <p:spPr>
            <a:xfrm>
              <a:off x="4674385" y="1177508"/>
              <a:ext cx="3087705" cy="338554"/>
            </a:xfrm>
            <a:prstGeom prst="rect">
              <a:avLst/>
            </a:prstGeom>
            <a:noFill/>
          </p:spPr>
          <p:txBody>
            <a:bodyPr wrap="none" rtlCol="0">
              <a:spAutoFit/>
            </a:bodyPr>
            <a:lstStyle/>
            <a:p>
              <a:pPr algn="ctr"/>
              <a:r>
                <a:rPr lang="en-US" sz="1600" dirty="0" smtClean="0">
                  <a:gradFill>
                    <a:gsLst>
                      <a:gs pos="0">
                        <a:schemeClr val="tx1"/>
                      </a:gs>
                      <a:gs pos="100000">
                        <a:schemeClr val="tx1"/>
                      </a:gs>
                    </a:gsLst>
                    <a:lin ang="5400000" scaled="0"/>
                  </a:gradFill>
                </a:rPr>
                <a:t>Windows Azure Active Directory</a:t>
              </a:r>
            </a:p>
          </p:txBody>
        </p:sp>
        <p:sp>
          <p:nvSpPr>
            <p:cNvPr id="19" name="Rectangle 18"/>
            <p:cNvSpPr/>
            <p:nvPr/>
          </p:nvSpPr>
          <p:spPr bwMode="auto">
            <a:xfrm>
              <a:off x="4354914" y="1209675"/>
              <a:ext cx="3741098" cy="3249559"/>
            </a:xfrm>
            <a:prstGeom prst="rect">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grpSp>
      <p:sp>
        <p:nvSpPr>
          <p:cNvPr id="20" name="Right Arrow 19"/>
          <p:cNvSpPr/>
          <p:nvPr>
            <p:custDataLst>
              <p:custData r:id="rId2"/>
            </p:custDataLst>
          </p:nvPr>
        </p:nvSpPr>
        <p:spPr bwMode="auto">
          <a:xfrm rot="16200000">
            <a:off x="5824538" y="4471988"/>
            <a:ext cx="990600" cy="838200"/>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t" anchorCtr="0" forceAA="0" compatLnSpc="1">
            <a:prstTxWarp prst="textNoShape">
              <a:avLst/>
            </a:prstTxWarp>
            <a:noAutofit/>
          </a:bodyPr>
          <a:lstStyle/>
          <a:p>
            <a:pPr algn="ctr" defTabSz="932406"/>
            <a:r>
              <a:rPr lang="en-US" sz="1400" spc="-102" dirty="0" err="1" smtClean="0">
                <a:solidFill>
                  <a:schemeClr val="bg1"/>
                </a:solidFill>
                <a:ea typeface="Segoe UI" pitchFamily="34" charset="0"/>
                <a:cs typeface="Segoe UI" pitchFamily="34" charset="0"/>
              </a:rPr>
              <a:t>Dir</a:t>
            </a:r>
            <a:r>
              <a:rPr lang="en-US" sz="1400" spc="-102" dirty="0" smtClean="0">
                <a:solidFill>
                  <a:schemeClr val="bg1"/>
                </a:solidFill>
                <a:ea typeface="Segoe UI" pitchFamily="34" charset="0"/>
                <a:cs typeface="Segoe UI" pitchFamily="34" charset="0"/>
              </a:rPr>
              <a:t> Sync</a:t>
            </a:r>
            <a:endParaRPr lang="en-US" sz="1400" spc="-102" dirty="0">
              <a:solidFill>
                <a:schemeClr val="bg1"/>
              </a:solidFill>
              <a:ea typeface="Segoe UI" pitchFamily="34" charset="0"/>
              <a:cs typeface="Segoe UI" pitchFamily="34" charset="0"/>
            </a:endParaRPr>
          </a:p>
        </p:txBody>
      </p:sp>
      <p:sp>
        <p:nvSpPr>
          <p:cNvPr id="22" name="Isosceles Triangle 21"/>
          <p:cNvSpPr/>
          <p:nvPr/>
        </p:nvSpPr>
        <p:spPr bwMode="auto">
          <a:xfrm>
            <a:off x="5624105" y="2327432"/>
            <a:ext cx="1379481" cy="1189208"/>
          </a:xfrm>
          <a:prstGeom prst="triangle">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t" anchorCtr="0"/>
          <a:lstStyle/>
          <a:p>
            <a:pPr algn="ctr" defTabSz="932406"/>
            <a:endParaRPr lang="en-US" sz="1600" spc="-102" dirty="0">
              <a:gradFill>
                <a:gsLst>
                  <a:gs pos="0">
                    <a:schemeClr val="bg1"/>
                  </a:gs>
                  <a:gs pos="100000">
                    <a:schemeClr val="bg1"/>
                  </a:gs>
                </a:gsLst>
                <a:lin ang="5400000" scaled="0"/>
              </a:gradFill>
              <a:ea typeface="Segoe UI" pitchFamily="34" charset="0"/>
              <a:cs typeface="Segoe UI" pitchFamily="34" charset="0"/>
            </a:endParaRPr>
          </a:p>
        </p:txBody>
      </p:sp>
      <p:sp>
        <p:nvSpPr>
          <p:cNvPr id="23" name="TextBox 22"/>
          <p:cNvSpPr txBox="1"/>
          <p:nvPr/>
        </p:nvSpPr>
        <p:spPr>
          <a:xfrm>
            <a:off x="5471730" y="3519696"/>
            <a:ext cx="1684243" cy="338554"/>
          </a:xfrm>
          <a:prstGeom prst="rect">
            <a:avLst/>
          </a:prstGeom>
          <a:noFill/>
        </p:spPr>
        <p:txBody>
          <a:bodyPr wrap="none" rtlCol="0">
            <a:spAutoFit/>
          </a:bodyPr>
          <a:lstStyle/>
          <a:p>
            <a:pPr algn="ctr"/>
            <a:r>
              <a:rPr lang="en-US" sz="1600" dirty="0" smtClean="0">
                <a:gradFill>
                  <a:gsLst>
                    <a:gs pos="0">
                      <a:schemeClr val="tx1"/>
                    </a:gs>
                    <a:gs pos="100000">
                      <a:schemeClr val="tx1"/>
                    </a:gs>
                  </a:gsLst>
                  <a:lin ang="5400000" scaled="0"/>
                </a:gradFill>
              </a:rPr>
              <a:t>Contoso’s tenant</a:t>
            </a:r>
          </a:p>
        </p:txBody>
      </p:sp>
      <p:sp>
        <p:nvSpPr>
          <p:cNvPr id="26" name="Freeform 25"/>
          <p:cNvSpPr/>
          <p:nvPr/>
        </p:nvSpPr>
        <p:spPr bwMode="auto">
          <a:xfrm>
            <a:off x="6204794" y="2595436"/>
            <a:ext cx="218102" cy="394266"/>
          </a:xfrm>
          <a:custGeom>
            <a:avLst/>
            <a:gdLst>
              <a:gd name="connsiteX0" fmla="*/ 993982 w 1938076"/>
              <a:gd name="connsiteY0" fmla="*/ 706921 h 3503500"/>
              <a:gd name="connsiteX1" fmla="*/ 1086674 w 1938076"/>
              <a:gd name="connsiteY1" fmla="*/ 727483 h 3503500"/>
              <a:gd name="connsiteX2" fmla="*/ 1094101 w 1938076"/>
              <a:gd name="connsiteY2" fmla="*/ 732985 h 3503500"/>
              <a:gd name="connsiteX3" fmla="*/ 1160279 w 1938076"/>
              <a:gd name="connsiteY3" fmla="*/ 756535 h 3503500"/>
              <a:gd name="connsiteX4" fmla="*/ 1840549 w 1938076"/>
              <a:gd name="connsiteY4" fmla="*/ 1149289 h 3503500"/>
              <a:gd name="connsiteX5" fmla="*/ 1917119 w 1938076"/>
              <a:gd name="connsiteY5" fmla="*/ 1389312 h 3503500"/>
              <a:gd name="connsiteX6" fmla="*/ 1670967 w 1938076"/>
              <a:gd name="connsiteY6" fmla="*/ 1443012 h 3503500"/>
              <a:gd name="connsiteX7" fmla="*/ 1232107 w 1938076"/>
              <a:gd name="connsiteY7" fmla="*/ 1189637 h 3503500"/>
              <a:gd name="connsiteX8" fmla="*/ 1232107 w 1938076"/>
              <a:gd name="connsiteY8" fmla="*/ 2071559 h 3503500"/>
              <a:gd name="connsiteX9" fmla="*/ 1227350 w 1938076"/>
              <a:gd name="connsiteY9" fmla="*/ 2123404 h 3503500"/>
              <a:gd name="connsiteX10" fmla="*/ 1232751 w 1938076"/>
              <a:gd name="connsiteY10" fmla="*/ 2127041 h 3503500"/>
              <a:gd name="connsiteX11" fmla="*/ 1296572 w 1938076"/>
              <a:gd name="connsiteY11" fmla="*/ 2207782 h 3503500"/>
              <a:gd name="connsiteX12" fmla="*/ 1848074 w 1938076"/>
              <a:gd name="connsiteY12" fmla="*/ 3163012 h 3503500"/>
              <a:gd name="connsiteX13" fmla="*/ 1814681 w 1938076"/>
              <a:gd name="connsiteY13" fmla="*/ 3484401 h 3503500"/>
              <a:gd name="connsiteX14" fmla="*/ 1519652 w 1938076"/>
              <a:gd name="connsiteY14" fmla="*/ 3352626 h 3503500"/>
              <a:gd name="connsiteX15" fmla="*/ 982472 w 1938076"/>
              <a:gd name="connsiteY15" fmla="*/ 2422203 h 3503500"/>
              <a:gd name="connsiteX16" fmla="*/ 445292 w 1938076"/>
              <a:gd name="connsiteY16" fmla="*/ 3352626 h 3503500"/>
              <a:gd name="connsiteX17" fmla="*/ 150263 w 1938076"/>
              <a:gd name="connsiteY17" fmla="*/ 3484402 h 3503500"/>
              <a:gd name="connsiteX18" fmla="*/ 116869 w 1938076"/>
              <a:gd name="connsiteY18" fmla="*/ 3163011 h 3503500"/>
              <a:gd name="connsiteX19" fmla="*/ 668372 w 1938076"/>
              <a:gd name="connsiteY19" fmla="*/ 2207783 h 3503500"/>
              <a:gd name="connsiteX20" fmla="*/ 714653 w 1938076"/>
              <a:gd name="connsiteY20" fmla="*/ 2144671 h 3503500"/>
              <a:gd name="connsiteX21" fmla="*/ 759050 w 1938076"/>
              <a:gd name="connsiteY21" fmla="*/ 2106359 h 3503500"/>
              <a:gd name="connsiteX22" fmla="*/ 755857 w 1938076"/>
              <a:gd name="connsiteY22" fmla="*/ 2071559 h 3503500"/>
              <a:gd name="connsiteX23" fmla="*/ 755857 w 1938076"/>
              <a:gd name="connsiteY23" fmla="*/ 1160834 h 3503500"/>
              <a:gd name="connsiteX24" fmla="*/ 267109 w 1938076"/>
              <a:gd name="connsiteY24" fmla="*/ 1443012 h 3503500"/>
              <a:gd name="connsiteX25" fmla="*/ 20957 w 1938076"/>
              <a:gd name="connsiteY25" fmla="*/ 1389312 h 3503500"/>
              <a:gd name="connsiteX26" fmla="*/ 97527 w 1938076"/>
              <a:gd name="connsiteY26" fmla="*/ 1149289 h 3503500"/>
              <a:gd name="connsiteX27" fmla="*/ 777797 w 1938076"/>
              <a:gd name="connsiteY27" fmla="*/ 756535 h 3503500"/>
              <a:gd name="connsiteX28" fmla="*/ 847265 w 1938076"/>
              <a:gd name="connsiteY28" fmla="*/ 731815 h 3503500"/>
              <a:gd name="connsiteX29" fmla="*/ 893762 w 1938076"/>
              <a:gd name="connsiteY29" fmla="*/ 733060 h 3503500"/>
              <a:gd name="connsiteX30" fmla="*/ 901290 w 1938076"/>
              <a:gd name="connsiteY30" fmla="*/ 727483 h 3503500"/>
              <a:gd name="connsiteX31" fmla="*/ 993982 w 1938076"/>
              <a:gd name="connsiteY31" fmla="*/ 706921 h 3503500"/>
              <a:gd name="connsiteX32" fmla="*/ 993981 w 1938076"/>
              <a:gd name="connsiteY32" fmla="*/ 0 h 3503500"/>
              <a:gd name="connsiteX33" fmla="*/ 1336881 w 1938076"/>
              <a:gd name="connsiteY33" fmla="*/ 342900 h 3503500"/>
              <a:gd name="connsiteX34" fmla="*/ 993981 w 1938076"/>
              <a:gd name="connsiteY34" fmla="*/ 685800 h 3503500"/>
              <a:gd name="connsiteX35" fmla="*/ 651081 w 1938076"/>
              <a:gd name="connsiteY35" fmla="*/ 342900 h 3503500"/>
              <a:gd name="connsiteX36" fmla="*/ 993981 w 1938076"/>
              <a:gd name="connsiteY36" fmla="*/ 0 h 35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8076" h="3503500">
                <a:moveTo>
                  <a:pt x="993982" y="706921"/>
                </a:moveTo>
                <a:cubicBezTo>
                  <a:pt x="1026862" y="706921"/>
                  <a:pt x="1058185" y="714243"/>
                  <a:pt x="1086674" y="727483"/>
                </a:cubicBezTo>
                <a:lnTo>
                  <a:pt x="1094101" y="732985"/>
                </a:lnTo>
                <a:lnTo>
                  <a:pt x="1160279" y="756535"/>
                </a:lnTo>
                <a:lnTo>
                  <a:pt x="1840549" y="1149289"/>
                </a:lnTo>
                <a:cubicBezTo>
                  <a:pt x="1929657" y="1200736"/>
                  <a:pt x="1963949" y="1308199"/>
                  <a:pt x="1917119" y="1389312"/>
                </a:cubicBezTo>
                <a:cubicBezTo>
                  <a:pt x="1870287" y="1470426"/>
                  <a:pt x="1760075" y="1494459"/>
                  <a:pt x="1670967" y="1443012"/>
                </a:cubicBezTo>
                <a:lnTo>
                  <a:pt x="1232107" y="1189637"/>
                </a:lnTo>
                <a:lnTo>
                  <a:pt x="1232107" y="2071559"/>
                </a:lnTo>
                <a:lnTo>
                  <a:pt x="1227350" y="2123404"/>
                </a:lnTo>
                <a:lnTo>
                  <a:pt x="1232751" y="2127041"/>
                </a:lnTo>
                <a:cubicBezTo>
                  <a:pt x="1256711" y="2149351"/>
                  <a:pt x="1278511" y="2176501"/>
                  <a:pt x="1296572" y="2207782"/>
                </a:cubicBezTo>
                <a:lnTo>
                  <a:pt x="1848074" y="3163012"/>
                </a:lnTo>
                <a:cubicBezTo>
                  <a:pt x="1920315" y="3288137"/>
                  <a:pt x="1905376" y="3432038"/>
                  <a:pt x="1814681" y="3484401"/>
                </a:cubicBezTo>
                <a:cubicBezTo>
                  <a:pt x="1723984" y="3536765"/>
                  <a:pt x="1591893" y="3477752"/>
                  <a:pt x="1519652" y="3352626"/>
                </a:cubicBezTo>
                <a:lnTo>
                  <a:pt x="982472" y="2422203"/>
                </a:lnTo>
                <a:lnTo>
                  <a:pt x="445292" y="3352626"/>
                </a:lnTo>
                <a:cubicBezTo>
                  <a:pt x="373050" y="3477752"/>
                  <a:pt x="240960" y="3536765"/>
                  <a:pt x="150263" y="3484402"/>
                </a:cubicBezTo>
                <a:cubicBezTo>
                  <a:pt x="59567" y="3432038"/>
                  <a:pt x="44629" y="3288137"/>
                  <a:pt x="116869" y="3163011"/>
                </a:cubicBezTo>
                <a:lnTo>
                  <a:pt x="668372" y="2207783"/>
                </a:lnTo>
                <a:cubicBezTo>
                  <a:pt x="681918" y="2184322"/>
                  <a:pt x="697567" y="2163185"/>
                  <a:pt x="714653" y="2144671"/>
                </a:cubicBezTo>
                <a:lnTo>
                  <a:pt x="759050" y="2106359"/>
                </a:lnTo>
                <a:lnTo>
                  <a:pt x="755857" y="2071559"/>
                </a:lnTo>
                <a:lnTo>
                  <a:pt x="755857" y="1160834"/>
                </a:lnTo>
                <a:lnTo>
                  <a:pt x="267109" y="1443012"/>
                </a:lnTo>
                <a:cubicBezTo>
                  <a:pt x="178001" y="1494459"/>
                  <a:pt x="67789" y="1470426"/>
                  <a:pt x="20957" y="1389312"/>
                </a:cubicBezTo>
                <a:cubicBezTo>
                  <a:pt x="-25874" y="1308198"/>
                  <a:pt x="8419" y="1200735"/>
                  <a:pt x="97527" y="1149289"/>
                </a:cubicBezTo>
                <a:lnTo>
                  <a:pt x="777797" y="756535"/>
                </a:lnTo>
                <a:cubicBezTo>
                  <a:pt x="800074" y="743673"/>
                  <a:pt x="823670" y="735529"/>
                  <a:pt x="847265" y="731815"/>
                </a:cubicBezTo>
                <a:lnTo>
                  <a:pt x="893762" y="733060"/>
                </a:lnTo>
                <a:lnTo>
                  <a:pt x="901290" y="727483"/>
                </a:lnTo>
                <a:cubicBezTo>
                  <a:pt x="929779" y="714243"/>
                  <a:pt x="961102" y="706921"/>
                  <a:pt x="993982" y="706921"/>
                </a:cubicBezTo>
                <a:close/>
                <a:moveTo>
                  <a:pt x="993981" y="0"/>
                </a:moveTo>
                <a:cubicBezTo>
                  <a:pt x="1183359" y="0"/>
                  <a:pt x="1336881" y="153522"/>
                  <a:pt x="1336881" y="342900"/>
                </a:cubicBezTo>
                <a:cubicBezTo>
                  <a:pt x="1336881" y="532278"/>
                  <a:pt x="1183359" y="685800"/>
                  <a:pt x="993981" y="685800"/>
                </a:cubicBezTo>
                <a:cubicBezTo>
                  <a:pt x="804603" y="685800"/>
                  <a:pt x="651081" y="532278"/>
                  <a:pt x="651081" y="342900"/>
                </a:cubicBezTo>
                <a:cubicBezTo>
                  <a:pt x="651081" y="153522"/>
                  <a:pt x="804603" y="0"/>
                  <a:pt x="99398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26"/>
          <p:cNvSpPr/>
          <p:nvPr/>
        </p:nvSpPr>
        <p:spPr bwMode="auto">
          <a:xfrm>
            <a:off x="6000119" y="3028030"/>
            <a:ext cx="218102" cy="394266"/>
          </a:xfrm>
          <a:custGeom>
            <a:avLst/>
            <a:gdLst>
              <a:gd name="connsiteX0" fmla="*/ 993982 w 1938076"/>
              <a:gd name="connsiteY0" fmla="*/ 706921 h 3503500"/>
              <a:gd name="connsiteX1" fmla="*/ 1086674 w 1938076"/>
              <a:gd name="connsiteY1" fmla="*/ 727483 h 3503500"/>
              <a:gd name="connsiteX2" fmla="*/ 1094101 w 1938076"/>
              <a:gd name="connsiteY2" fmla="*/ 732985 h 3503500"/>
              <a:gd name="connsiteX3" fmla="*/ 1160279 w 1938076"/>
              <a:gd name="connsiteY3" fmla="*/ 756535 h 3503500"/>
              <a:gd name="connsiteX4" fmla="*/ 1840549 w 1938076"/>
              <a:gd name="connsiteY4" fmla="*/ 1149289 h 3503500"/>
              <a:gd name="connsiteX5" fmla="*/ 1917119 w 1938076"/>
              <a:gd name="connsiteY5" fmla="*/ 1389312 h 3503500"/>
              <a:gd name="connsiteX6" fmla="*/ 1670967 w 1938076"/>
              <a:gd name="connsiteY6" fmla="*/ 1443012 h 3503500"/>
              <a:gd name="connsiteX7" fmla="*/ 1232107 w 1938076"/>
              <a:gd name="connsiteY7" fmla="*/ 1189637 h 3503500"/>
              <a:gd name="connsiteX8" fmla="*/ 1232107 w 1938076"/>
              <a:gd name="connsiteY8" fmla="*/ 2071559 h 3503500"/>
              <a:gd name="connsiteX9" fmla="*/ 1227350 w 1938076"/>
              <a:gd name="connsiteY9" fmla="*/ 2123404 h 3503500"/>
              <a:gd name="connsiteX10" fmla="*/ 1232751 w 1938076"/>
              <a:gd name="connsiteY10" fmla="*/ 2127041 h 3503500"/>
              <a:gd name="connsiteX11" fmla="*/ 1296572 w 1938076"/>
              <a:gd name="connsiteY11" fmla="*/ 2207782 h 3503500"/>
              <a:gd name="connsiteX12" fmla="*/ 1848074 w 1938076"/>
              <a:gd name="connsiteY12" fmla="*/ 3163012 h 3503500"/>
              <a:gd name="connsiteX13" fmla="*/ 1814681 w 1938076"/>
              <a:gd name="connsiteY13" fmla="*/ 3484401 h 3503500"/>
              <a:gd name="connsiteX14" fmla="*/ 1519652 w 1938076"/>
              <a:gd name="connsiteY14" fmla="*/ 3352626 h 3503500"/>
              <a:gd name="connsiteX15" fmla="*/ 982472 w 1938076"/>
              <a:gd name="connsiteY15" fmla="*/ 2422203 h 3503500"/>
              <a:gd name="connsiteX16" fmla="*/ 445292 w 1938076"/>
              <a:gd name="connsiteY16" fmla="*/ 3352626 h 3503500"/>
              <a:gd name="connsiteX17" fmla="*/ 150263 w 1938076"/>
              <a:gd name="connsiteY17" fmla="*/ 3484402 h 3503500"/>
              <a:gd name="connsiteX18" fmla="*/ 116869 w 1938076"/>
              <a:gd name="connsiteY18" fmla="*/ 3163011 h 3503500"/>
              <a:gd name="connsiteX19" fmla="*/ 668372 w 1938076"/>
              <a:gd name="connsiteY19" fmla="*/ 2207783 h 3503500"/>
              <a:gd name="connsiteX20" fmla="*/ 714653 w 1938076"/>
              <a:gd name="connsiteY20" fmla="*/ 2144671 h 3503500"/>
              <a:gd name="connsiteX21" fmla="*/ 759050 w 1938076"/>
              <a:gd name="connsiteY21" fmla="*/ 2106359 h 3503500"/>
              <a:gd name="connsiteX22" fmla="*/ 755857 w 1938076"/>
              <a:gd name="connsiteY22" fmla="*/ 2071559 h 3503500"/>
              <a:gd name="connsiteX23" fmla="*/ 755857 w 1938076"/>
              <a:gd name="connsiteY23" fmla="*/ 1160834 h 3503500"/>
              <a:gd name="connsiteX24" fmla="*/ 267109 w 1938076"/>
              <a:gd name="connsiteY24" fmla="*/ 1443012 h 3503500"/>
              <a:gd name="connsiteX25" fmla="*/ 20957 w 1938076"/>
              <a:gd name="connsiteY25" fmla="*/ 1389312 h 3503500"/>
              <a:gd name="connsiteX26" fmla="*/ 97527 w 1938076"/>
              <a:gd name="connsiteY26" fmla="*/ 1149289 h 3503500"/>
              <a:gd name="connsiteX27" fmla="*/ 777797 w 1938076"/>
              <a:gd name="connsiteY27" fmla="*/ 756535 h 3503500"/>
              <a:gd name="connsiteX28" fmla="*/ 847265 w 1938076"/>
              <a:gd name="connsiteY28" fmla="*/ 731815 h 3503500"/>
              <a:gd name="connsiteX29" fmla="*/ 893762 w 1938076"/>
              <a:gd name="connsiteY29" fmla="*/ 733060 h 3503500"/>
              <a:gd name="connsiteX30" fmla="*/ 901290 w 1938076"/>
              <a:gd name="connsiteY30" fmla="*/ 727483 h 3503500"/>
              <a:gd name="connsiteX31" fmla="*/ 993982 w 1938076"/>
              <a:gd name="connsiteY31" fmla="*/ 706921 h 3503500"/>
              <a:gd name="connsiteX32" fmla="*/ 993981 w 1938076"/>
              <a:gd name="connsiteY32" fmla="*/ 0 h 3503500"/>
              <a:gd name="connsiteX33" fmla="*/ 1336881 w 1938076"/>
              <a:gd name="connsiteY33" fmla="*/ 342900 h 3503500"/>
              <a:gd name="connsiteX34" fmla="*/ 993981 w 1938076"/>
              <a:gd name="connsiteY34" fmla="*/ 685800 h 3503500"/>
              <a:gd name="connsiteX35" fmla="*/ 651081 w 1938076"/>
              <a:gd name="connsiteY35" fmla="*/ 342900 h 3503500"/>
              <a:gd name="connsiteX36" fmla="*/ 993981 w 1938076"/>
              <a:gd name="connsiteY36" fmla="*/ 0 h 35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8076" h="3503500">
                <a:moveTo>
                  <a:pt x="993982" y="706921"/>
                </a:moveTo>
                <a:cubicBezTo>
                  <a:pt x="1026862" y="706921"/>
                  <a:pt x="1058185" y="714243"/>
                  <a:pt x="1086674" y="727483"/>
                </a:cubicBezTo>
                <a:lnTo>
                  <a:pt x="1094101" y="732985"/>
                </a:lnTo>
                <a:lnTo>
                  <a:pt x="1160279" y="756535"/>
                </a:lnTo>
                <a:lnTo>
                  <a:pt x="1840549" y="1149289"/>
                </a:lnTo>
                <a:cubicBezTo>
                  <a:pt x="1929657" y="1200736"/>
                  <a:pt x="1963949" y="1308199"/>
                  <a:pt x="1917119" y="1389312"/>
                </a:cubicBezTo>
                <a:cubicBezTo>
                  <a:pt x="1870287" y="1470426"/>
                  <a:pt x="1760075" y="1494459"/>
                  <a:pt x="1670967" y="1443012"/>
                </a:cubicBezTo>
                <a:lnTo>
                  <a:pt x="1232107" y="1189637"/>
                </a:lnTo>
                <a:lnTo>
                  <a:pt x="1232107" y="2071559"/>
                </a:lnTo>
                <a:lnTo>
                  <a:pt x="1227350" y="2123404"/>
                </a:lnTo>
                <a:lnTo>
                  <a:pt x="1232751" y="2127041"/>
                </a:lnTo>
                <a:cubicBezTo>
                  <a:pt x="1256711" y="2149351"/>
                  <a:pt x="1278511" y="2176501"/>
                  <a:pt x="1296572" y="2207782"/>
                </a:cubicBezTo>
                <a:lnTo>
                  <a:pt x="1848074" y="3163012"/>
                </a:lnTo>
                <a:cubicBezTo>
                  <a:pt x="1920315" y="3288137"/>
                  <a:pt x="1905376" y="3432038"/>
                  <a:pt x="1814681" y="3484401"/>
                </a:cubicBezTo>
                <a:cubicBezTo>
                  <a:pt x="1723984" y="3536765"/>
                  <a:pt x="1591893" y="3477752"/>
                  <a:pt x="1519652" y="3352626"/>
                </a:cubicBezTo>
                <a:lnTo>
                  <a:pt x="982472" y="2422203"/>
                </a:lnTo>
                <a:lnTo>
                  <a:pt x="445292" y="3352626"/>
                </a:lnTo>
                <a:cubicBezTo>
                  <a:pt x="373050" y="3477752"/>
                  <a:pt x="240960" y="3536765"/>
                  <a:pt x="150263" y="3484402"/>
                </a:cubicBezTo>
                <a:cubicBezTo>
                  <a:pt x="59567" y="3432038"/>
                  <a:pt x="44629" y="3288137"/>
                  <a:pt x="116869" y="3163011"/>
                </a:cubicBezTo>
                <a:lnTo>
                  <a:pt x="668372" y="2207783"/>
                </a:lnTo>
                <a:cubicBezTo>
                  <a:pt x="681918" y="2184322"/>
                  <a:pt x="697567" y="2163185"/>
                  <a:pt x="714653" y="2144671"/>
                </a:cubicBezTo>
                <a:lnTo>
                  <a:pt x="759050" y="2106359"/>
                </a:lnTo>
                <a:lnTo>
                  <a:pt x="755857" y="2071559"/>
                </a:lnTo>
                <a:lnTo>
                  <a:pt x="755857" y="1160834"/>
                </a:lnTo>
                <a:lnTo>
                  <a:pt x="267109" y="1443012"/>
                </a:lnTo>
                <a:cubicBezTo>
                  <a:pt x="178001" y="1494459"/>
                  <a:pt x="67789" y="1470426"/>
                  <a:pt x="20957" y="1389312"/>
                </a:cubicBezTo>
                <a:cubicBezTo>
                  <a:pt x="-25874" y="1308198"/>
                  <a:pt x="8419" y="1200735"/>
                  <a:pt x="97527" y="1149289"/>
                </a:cubicBezTo>
                <a:lnTo>
                  <a:pt x="777797" y="756535"/>
                </a:lnTo>
                <a:cubicBezTo>
                  <a:pt x="800074" y="743673"/>
                  <a:pt x="823670" y="735529"/>
                  <a:pt x="847265" y="731815"/>
                </a:cubicBezTo>
                <a:lnTo>
                  <a:pt x="893762" y="733060"/>
                </a:lnTo>
                <a:lnTo>
                  <a:pt x="901290" y="727483"/>
                </a:lnTo>
                <a:cubicBezTo>
                  <a:pt x="929779" y="714243"/>
                  <a:pt x="961102" y="706921"/>
                  <a:pt x="993982" y="706921"/>
                </a:cubicBezTo>
                <a:close/>
                <a:moveTo>
                  <a:pt x="993981" y="0"/>
                </a:moveTo>
                <a:cubicBezTo>
                  <a:pt x="1183359" y="0"/>
                  <a:pt x="1336881" y="153522"/>
                  <a:pt x="1336881" y="342900"/>
                </a:cubicBezTo>
                <a:cubicBezTo>
                  <a:pt x="1336881" y="532278"/>
                  <a:pt x="1183359" y="685800"/>
                  <a:pt x="993981" y="685800"/>
                </a:cubicBezTo>
                <a:cubicBezTo>
                  <a:pt x="804603" y="685800"/>
                  <a:pt x="651081" y="532278"/>
                  <a:pt x="651081" y="342900"/>
                </a:cubicBezTo>
                <a:cubicBezTo>
                  <a:pt x="651081" y="153522"/>
                  <a:pt x="804603" y="0"/>
                  <a:pt x="99398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28" name="Freeform 27"/>
          <p:cNvSpPr/>
          <p:nvPr/>
        </p:nvSpPr>
        <p:spPr bwMode="auto">
          <a:xfrm>
            <a:off x="6409469" y="3025675"/>
            <a:ext cx="218102" cy="394266"/>
          </a:xfrm>
          <a:custGeom>
            <a:avLst/>
            <a:gdLst>
              <a:gd name="connsiteX0" fmla="*/ 993982 w 1938076"/>
              <a:gd name="connsiteY0" fmla="*/ 706921 h 3503500"/>
              <a:gd name="connsiteX1" fmla="*/ 1086674 w 1938076"/>
              <a:gd name="connsiteY1" fmla="*/ 727483 h 3503500"/>
              <a:gd name="connsiteX2" fmla="*/ 1094101 w 1938076"/>
              <a:gd name="connsiteY2" fmla="*/ 732985 h 3503500"/>
              <a:gd name="connsiteX3" fmla="*/ 1160279 w 1938076"/>
              <a:gd name="connsiteY3" fmla="*/ 756535 h 3503500"/>
              <a:gd name="connsiteX4" fmla="*/ 1840549 w 1938076"/>
              <a:gd name="connsiteY4" fmla="*/ 1149289 h 3503500"/>
              <a:gd name="connsiteX5" fmla="*/ 1917119 w 1938076"/>
              <a:gd name="connsiteY5" fmla="*/ 1389312 h 3503500"/>
              <a:gd name="connsiteX6" fmla="*/ 1670967 w 1938076"/>
              <a:gd name="connsiteY6" fmla="*/ 1443012 h 3503500"/>
              <a:gd name="connsiteX7" fmla="*/ 1232107 w 1938076"/>
              <a:gd name="connsiteY7" fmla="*/ 1189637 h 3503500"/>
              <a:gd name="connsiteX8" fmla="*/ 1232107 w 1938076"/>
              <a:gd name="connsiteY8" fmla="*/ 2071559 h 3503500"/>
              <a:gd name="connsiteX9" fmla="*/ 1227350 w 1938076"/>
              <a:gd name="connsiteY9" fmla="*/ 2123404 h 3503500"/>
              <a:gd name="connsiteX10" fmla="*/ 1232751 w 1938076"/>
              <a:gd name="connsiteY10" fmla="*/ 2127041 h 3503500"/>
              <a:gd name="connsiteX11" fmla="*/ 1296572 w 1938076"/>
              <a:gd name="connsiteY11" fmla="*/ 2207782 h 3503500"/>
              <a:gd name="connsiteX12" fmla="*/ 1848074 w 1938076"/>
              <a:gd name="connsiteY12" fmla="*/ 3163012 h 3503500"/>
              <a:gd name="connsiteX13" fmla="*/ 1814681 w 1938076"/>
              <a:gd name="connsiteY13" fmla="*/ 3484401 h 3503500"/>
              <a:gd name="connsiteX14" fmla="*/ 1519652 w 1938076"/>
              <a:gd name="connsiteY14" fmla="*/ 3352626 h 3503500"/>
              <a:gd name="connsiteX15" fmla="*/ 982472 w 1938076"/>
              <a:gd name="connsiteY15" fmla="*/ 2422203 h 3503500"/>
              <a:gd name="connsiteX16" fmla="*/ 445292 w 1938076"/>
              <a:gd name="connsiteY16" fmla="*/ 3352626 h 3503500"/>
              <a:gd name="connsiteX17" fmla="*/ 150263 w 1938076"/>
              <a:gd name="connsiteY17" fmla="*/ 3484402 h 3503500"/>
              <a:gd name="connsiteX18" fmla="*/ 116869 w 1938076"/>
              <a:gd name="connsiteY18" fmla="*/ 3163011 h 3503500"/>
              <a:gd name="connsiteX19" fmla="*/ 668372 w 1938076"/>
              <a:gd name="connsiteY19" fmla="*/ 2207783 h 3503500"/>
              <a:gd name="connsiteX20" fmla="*/ 714653 w 1938076"/>
              <a:gd name="connsiteY20" fmla="*/ 2144671 h 3503500"/>
              <a:gd name="connsiteX21" fmla="*/ 759050 w 1938076"/>
              <a:gd name="connsiteY21" fmla="*/ 2106359 h 3503500"/>
              <a:gd name="connsiteX22" fmla="*/ 755857 w 1938076"/>
              <a:gd name="connsiteY22" fmla="*/ 2071559 h 3503500"/>
              <a:gd name="connsiteX23" fmla="*/ 755857 w 1938076"/>
              <a:gd name="connsiteY23" fmla="*/ 1160834 h 3503500"/>
              <a:gd name="connsiteX24" fmla="*/ 267109 w 1938076"/>
              <a:gd name="connsiteY24" fmla="*/ 1443012 h 3503500"/>
              <a:gd name="connsiteX25" fmla="*/ 20957 w 1938076"/>
              <a:gd name="connsiteY25" fmla="*/ 1389312 h 3503500"/>
              <a:gd name="connsiteX26" fmla="*/ 97527 w 1938076"/>
              <a:gd name="connsiteY26" fmla="*/ 1149289 h 3503500"/>
              <a:gd name="connsiteX27" fmla="*/ 777797 w 1938076"/>
              <a:gd name="connsiteY27" fmla="*/ 756535 h 3503500"/>
              <a:gd name="connsiteX28" fmla="*/ 847265 w 1938076"/>
              <a:gd name="connsiteY28" fmla="*/ 731815 h 3503500"/>
              <a:gd name="connsiteX29" fmla="*/ 893762 w 1938076"/>
              <a:gd name="connsiteY29" fmla="*/ 733060 h 3503500"/>
              <a:gd name="connsiteX30" fmla="*/ 901290 w 1938076"/>
              <a:gd name="connsiteY30" fmla="*/ 727483 h 3503500"/>
              <a:gd name="connsiteX31" fmla="*/ 993982 w 1938076"/>
              <a:gd name="connsiteY31" fmla="*/ 706921 h 3503500"/>
              <a:gd name="connsiteX32" fmla="*/ 993981 w 1938076"/>
              <a:gd name="connsiteY32" fmla="*/ 0 h 3503500"/>
              <a:gd name="connsiteX33" fmla="*/ 1336881 w 1938076"/>
              <a:gd name="connsiteY33" fmla="*/ 342900 h 3503500"/>
              <a:gd name="connsiteX34" fmla="*/ 993981 w 1938076"/>
              <a:gd name="connsiteY34" fmla="*/ 685800 h 3503500"/>
              <a:gd name="connsiteX35" fmla="*/ 651081 w 1938076"/>
              <a:gd name="connsiteY35" fmla="*/ 342900 h 3503500"/>
              <a:gd name="connsiteX36" fmla="*/ 993981 w 1938076"/>
              <a:gd name="connsiteY36" fmla="*/ 0 h 35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8076" h="3503500">
                <a:moveTo>
                  <a:pt x="993982" y="706921"/>
                </a:moveTo>
                <a:cubicBezTo>
                  <a:pt x="1026862" y="706921"/>
                  <a:pt x="1058185" y="714243"/>
                  <a:pt x="1086674" y="727483"/>
                </a:cubicBezTo>
                <a:lnTo>
                  <a:pt x="1094101" y="732985"/>
                </a:lnTo>
                <a:lnTo>
                  <a:pt x="1160279" y="756535"/>
                </a:lnTo>
                <a:lnTo>
                  <a:pt x="1840549" y="1149289"/>
                </a:lnTo>
                <a:cubicBezTo>
                  <a:pt x="1929657" y="1200736"/>
                  <a:pt x="1963949" y="1308199"/>
                  <a:pt x="1917119" y="1389312"/>
                </a:cubicBezTo>
                <a:cubicBezTo>
                  <a:pt x="1870287" y="1470426"/>
                  <a:pt x="1760075" y="1494459"/>
                  <a:pt x="1670967" y="1443012"/>
                </a:cubicBezTo>
                <a:lnTo>
                  <a:pt x="1232107" y="1189637"/>
                </a:lnTo>
                <a:lnTo>
                  <a:pt x="1232107" y="2071559"/>
                </a:lnTo>
                <a:lnTo>
                  <a:pt x="1227350" y="2123404"/>
                </a:lnTo>
                <a:lnTo>
                  <a:pt x="1232751" y="2127041"/>
                </a:lnTo>
                <a:cubicBezTo>
                  <a:pt x="1256711" y="2149351"/>
                  <a:pt x="1278511" y="2176501"/>
                  <a:pt x="1296572" y="2207782"/>
                </a:cubicBezTo>
                <a:lnTo>
                  <a:pt x="1848074" y="3163012"/>
                </a:lnTo>
                <a:cubicBezTo>
                  <a:pt x="1920315" y="3288137"/>
                  <a:pt x="1905376" y="3432038"/>
                  <a:pt x="1814681" y="3484401"/>
                </a:cubicBezTo>
                <a:cubicBezTo>
                  <a:pt x="1723984" y="3536765"/>
                  <a:pt x="1591893" y="3477752"/>
                  <a:pt x="1519652" y="3352626"/>
                </a:cubicBezTo>
                <a:lnTo>
                  <a:pt x="982472" y="2422203"/>
                </a:lnTo>
                <a:lnTo>
                  <a:pt x="445292" y="3352626"/>
                </a:lnTo>
                <a:cubicBezTo>
                  <a:pt x="373050" y="3477752"/>
                  <a:pt x="240960" y="3536765"/>
                  <a:pt x="150263" y="3484402"/>
                </a:cubicBezTo>
                <a:cubicBezTo>
                  <a:pt x="59567" y="3432038"/>
                  <a:pt x="44629" y="3288137"/>
                  <a:pt x="116869" y="3163011"/>
                </a:cubicBezTo>
                <a:lnTo>
                  <a:pt x="668372" y="2207783"/>
                </a:lnTo>
                <a:cubicBezTo>
                  <a:pt x="681918" y="2184322"/>
                  <a:pt x="697567" y="2163185"/>
                  <a:pt x="714653" y="2144671"/>
                </a:cubicBezTo>
                <a:lnTo>
                  <a:pt x="759050" y="2106359"/>
                </a:lnTo>
                <a:lnTo>
                  <a:pt x="755857" y="2071559"/>
                </a:lnTo>
                <a:lnTo>
                  <a:pt x="755857" y="1160834"/>
                </a:lnTo>
                <a:lnTo>
                  <a:pt x="267109" y="1443012"/>
                </a:lnTo>
                <a:cubicBezTo>
                  <a:pt x="178001" y="1494459"/>
                  <a:pt x="67789" y="1470426"/>
                  <a:pt x="20957" y="1389312"/>
                </a:cubicBezTo>
                <a:cubicBezTo>
                  <a:pt x="-25874" y="1308198"/>
                  <a:pt x="8419" y="1200735"/>
                  <a:pt x="97527" y="1149289"/>
                </a:cubicBezTo>
                <a:lnTo>
                  <a:pt x="777797" y="756535"/>
                </a:lnTo>
                <a:cubicBezTo>
                  <a:pt x="800074" y="743673"/>
                  <a:pt x="823670" y="735529"/>
                  <a:pt x="847265" y="731815"/>
                </a:cubicBezTo>
                <a:lnTo>
                  <a:pt x="893762" y="733060"/>
                </a:lnTo>
                <a:lnTo>
                  <a:pt x="901290" y="727483"/>
                </a:lnTo>
                <a:cubicBezTo>
                  <a:pt x="929779" y="714243"/>
                  <a:pt x="961102" y="706921"/>
                  <a:pt x="993982" y="706921"/>
                </a:cubicBezTo>
                <a:close/>
                <a:moveTo>
                  <a:pt x="993981" y="0"/>
                </a:moveTo>
                <a:cubicBezTo>
                  <a:pt x="1183359" y="0"/>
                  <a:pt x="1336881" y="153522"/>
                  <a:pt x="1336881" y="342900"/>
                </a:cubicBezTo>
                <a:cubicBezTo>
                  <a:pt x="1336881" y="532278"/>
                  <a:pt x="1183359" y="685800"/>
                  <a:pt x="993981" y="685800"/>
                </a:cubicBezTo>
                <a:cubicBezTo>
                  <a:pt x="804603" y="685800"/>
                  <a:pt x="651081" y="532278"/>
                  <a:pt x="651081" y="342900"/>
                </a:cubicBezTo>
                <a:cubicBezTo>
                  <a:pt x="651081" y="153522"/>
                  <a:pt x="804603" y="0"/>
                  <a:pt x="99398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t" anchorCtr="0"/>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sp>
        <p:nvSpPr>
          <p:cNvPr id="29" name="Rounded Rectangle 28"/>
          <p:cNvSpPr/>
          <p:nvPr/>
        </p:nvSpPr>
        <p:spPr bwMode="auto">
          <a:xfrm>
            <a:off x="5939548" y="3025675"/>
            <a:ext cx="748592" cy="404316"/>
          </a:xfrm>
          <a:prstGeom prst="roundRect">
            <a:avLst/>
          </a:prstGeom>
          <a:no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34294" bIns="34294" numCol="1" spcCol="0" rtlCol="0" fromWordArt="0" anchor="t" anchorCtr="0" forceAA="0" compatLnSpc="1">
            <a:prstTxWarp prst="textNoShape">
              <a:avLst/>
            </a:prstTxWarp>
            <a:noAutofit/>
          </a:bodyPr>
          <a:lstStyle/>
          <a:p>
            <a:pPr algn="ctr" defTabSz="932406"/>
            <a:endParaRPr lang="en-US" sz="1600" spc="-102" dirty="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p:custDataLst>
              <p:custData r:id="rId3"/>
            </p:custDataLst>
          </p:nvPr>
        </p:nvGrpSpPr>
        <p:grpSpPr>
          <a:xfrm>
            <a:off x="8196372" y="1617632"/>
            <a:ext cx="1551225" cy="2744139"/>
            <a:chOff x="8096012" y="944077"/>
            <a:chExt cx="1551225" cy="2744139"/>
          </a:xfrm>
        </p:grpSpPr>
        <p:grpSp>
          <p:nvGrpSpPr>
            <p:cNvPr id="31" name="Group 30"/>
            <p:cNvGrpSpPr/>
            <p:nvPr/>
          </p:nvGrpSpPr>
          <p:grpSpPr>
            <a:xfrm>
              <a:off x="8096012" y="2269386"/>
              <a:ext cx="789225" cy="197428"/>
              <a:chOff x="4572000" y="3022238"/>
              <a:chExt cx="789225" cy="197428"/>
            </a:xfrm>
            <a:solidFill>
              <a:schemeClr val="tx1"/>
            </a:solidFill>
          </p:grpSpPr>
          <p:sp>
            <p:nvSpPr>
              <p:cNvPr id="49" name="Oval 48"/>
              <p:cNvSpPr/>
              <p:nvPr/>
            </p:nvSpPr>
            <p:spPr>
              <a:xfrm>
                <a:off x="5163797" y="3022238"/>
                <a:ext cx="197428" cy="19742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0" name="Straight Connector 49"/>
              <p:cNvCxnSpPr>
                <a:endCxn id="49" idx="2"/>
              </p:cNvCxnSpPr>
              <p:nvPr/>
            </p:nvCxnSpPr>
            <p:spPr>
              <a:xfrm>
                <a:off x="4572000" y="3115757"/>
                <a:ext cx="591797" cy="5195"/>
              </a:xfrm>
              <a:prstGeom prst="line">
                <a:avLst/>
              </a:prstGeom>
              <a:grpFill/>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2" name="TextBox 31"/>
            <p:cNvSpPr txBox="1"/>
            <p:nvPr/>
          </p:nvSpPr>
          <p:spPr>
            <a:xfrm>
              <a:off x="8112843" y="1923237"/>
              <a:ext cx="904415" cy="338554"/>
            </a:xfrm>
            <a:prstGeom prst="rect">
              <a:avLst/>
            </a:prstGeom>
            <a:noFill/>
          </p:spPr>
          <p:txBody>
            <a:bodyPr wrap="none" rtlCol="0">
              <a:spAutoFit/>
            </a:bodyPr>
            <a:lstStyle/>
            <a:p>
              <a:r>
                <a:rPr lang="en-US" sz="1600" dirty="0" smtClean="0">
                  <a:gradFill>
                    <a:gsLst>
                      <a:gs pos="0">
                        <a:schemeClr val="tx1"/>
                      </a:gs>
                      <a:gs pos="100000">
                        <a:schemeClr val="tx1"/>
                      </a:gs>
                    </a:gsLst>
                    <a:lin ang="5400000" scaled="0"/>
                  </a:gradFill>
                </a:rPr>
                <a:t>SAML-P</a:t>
              </a:r>
            </a:p>
          </p:txBody>
        </p:sp>
        <p:grpSp>
          <p:nvGrpSpPr>
            <p:cNvPr id="33" name="Group 32"/>
            <p:cNvGrpSpPr/>
            <p:nvPr/>
          </p:nvGrpSpPr>
          <p:grpSpPr>
            <a:xfrm>
              <a:off x="8096012" y="2875758"/>
              <a:ext cx="789225" cy="197428"/>
              <a:chOff x="4572000" y="3022238"/>
              <a:chExt cx="789225" cy="197428"/>
            </a:xfrm>
            <a:solidFill>
              <a:schemeClr val="tx1"/>
            </a:solidFill>
          </p:grpSpPr>
          <p:sp>
            <p:nvSpPr>
              <p:cNvPr id="47" name="Oval 46"/>
              <p:cNvSpPr/>
              <p:nvPr/>
            </p:nvSpPr>
            <p:spPr>
              <a:xfrm>
                <a:off x="5163797" y="3022238"/>
                <a:ext cx="197428" cy="19742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Connector 47"/>
              <p:cNvCxnSpPr>
                <a:endCxn id="47" idx="2"/>
              </p:cNvCxnSpPr>
              <p:nvPr/>
            </p:nvCxnSpPr>
            <p:spPr>
              <a:xfrm>
                <a:off x="4572000" y="3115757"/>
                <a:ext cx="591797" cy="5195"/>
              </a:xfrm>
              <a:prstGeom prst="line">
                <a:avLst/>
              </a:prstGeom>
              <a:grpFill/>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 name="TextBox 33"/>
            <p:cNvSpPr txBox="1"/>
            <p:nvPr/>
          </p:nvSpPr>
          <p:spPr>
            <a:xfrm>
              <a:off x="8112843" y="2529609"/>
              <a:ext cx="1534394" cy="338554"/>
            </a:xfrm>
            <a:prstGeom prst="rect">
              <a:avLst/>
            </a:prstGeom>
            <a:noFill/>
          </p:spPr>
          <p:txBody>
            <a:bodyPr wrap="none" rtlCol="0">
              <a:spAutoFit/>
            </a:bodyPr>
            <a:lstStyle/>
            <a:p>
              <a:r>
                <a:rPr lang="en-US" sz="1600" dirty="0" smtClean="0">
                  <a:gradFill>
                    <a:gsLst>
                      <a:gs pos="0">
                        <a:schemeClr val="tx1"/>
                      </a:gs>
                      <a:gs pos="100000">
                        <a:schemeClr val="tx1"/>
                      </a:gs>
                    </a:gsLst>
                    <a:lin ang="5400000" scaled="0"/>
                  </a:gradFill>
                </a:rPr>
                <a:t>WS-Federation</a:t>
              </a:r>
            </a:p>
          </p:txBody>
        </p:sp>
        <p:grpSp>
          <p:nvGrpSpPr>
            <p:cNvPr id="35" name="Group 34"/>
            <p:cNvGrpSpPr/>
            <p:nvPr/>
          </p:nvGrpSpPr>
          <p:grpSpPr>
            <a:xfrm>
              <a:off x="8096012" y="3490788"/>
              <a:ext cx="789225" cy="197428"/>
              <a:chOff x="4572000" y="3022238"/>
              <a:chExt cx="789225" cy="197428"/>
            </a:xfrm>
            <a:solidFill>
              <a:schemeClr val="tx1"/>
            </a:solidFill>
          </p:grpSpPr>
          <p:sp>
            <p:nvSpPr>
              <p:cNvPr id="45" name="Oval 44"/>
              <p:cNvSpPr/>
              <p:nvPr/>
            </p:nvSpPr>
            <p:spPr>
              <a:xfrm>
                <a:off x="5163797" y="3022238"/>
                <a:ext cx="197428" cy="19742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Connector 45"/>
              <p:cNvCxnSpPr>
                <a:endCxn id="45" idx="2"/>
              </p:cNvCxnSpPr>
              <p:nvPr/>
            </p:nvCxnSpPr>
            <p:spPr>
              <a:xfrm>
                <a:off x="4572000" y="3115757"/>
                <a:ext cx="591797" cy="5195"/>
              </a:xfrm>
              <a:prstGeom prst="line">
                <a:avLst/>
              </a:prstGeom>
              <a:grpFill/>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p:nvSpPr>
          <p:spPr>
            <a:xfrm>
              <a:off x="8112843" y="3144639"/>
              <a:ext cx="1047082" cy="338554"/>
            </a:xfrm>
            <a:prstGeom prst="rect">
              <a:avLst/>
            </a:prstGeom>
            <a:noFill/>
          </p:spPr>
          <p:txBody>
            <a:bodyPr wrap="none" rtlCol="0">
              <a:spAutoFit/>
            </a:bodyPr>
            <a:lstStyle/>
            <a:p>
              <a:r>
                <a:rPr lang="en-US" sz="1600" dirty="0" smtClean="0">
                  <a:gradFill>
                    <a:gsLst>
                      <a:gs pos="0">
                        <a:schemeClr val="tx1"/>
                      </a:gs>
                      <a:gs pos="100000">
                        <a:schemeClr val="tx1"/>
                      </a:gs>
                    </a:gsLst>
                    <a:lin ang="5400000" scaled="0"/>
                  </a:gradFill>
                </a:rPr>
                <a:t>Metadata</a:t>
              </a:r>
            </a:p>
          </p:txBody>
        </p:sp>
        <p:grpSp>
          <p:nvGrpSpPr>
            <p:cNvPr id="37" name="Group 36"/>
            <p:cNvGrpSpPr/>
            <p:nvPr/>
          </p:nvGrpSpPr>
          <p:grpSpPr>
            <a:xfrm>
              <a:off x="8096012" y="944077"/>
              <a:ext cx="897713" cy="807967"/>
              <a:chOff x="8096012" y="1362723"/>
              <a:chExt cx="897713" cy="807967"/>
            </a:xfrm>
          </p:grpSpPr>
          <p:grpSp>
            <p:nvGrpSpPr>
              <p:cNvPr id="38" name="Group 37"/>
              <p:cNvGrpSpPr/>
              <p:nvPr/>
            </p:nvGrpSpPr>
            <p:grpSpPr>
              <a:xfrm>
                <a:off x="8096012" y="1708872"/>
                <a:ext cx="789225" cy="197428"/>
                <a:chOff x="4572000" y="3022238"/>
                <a:chExt cx="789225" cy="197428"/>
              </a:xfrm>
              <a:solidFill>
                <a:schemeClr val="tx1"/>
              </a:solidFill>
            </p:grpSpPr>
            <p:sp>
              <p:nvSpPr>
                <p:cNvPr id="43" name="Oval 42"/>
                <p:cNvSpPr/>
                <p:nvPr/>
              </p:nvSpPr>
              <p:spPr>
                <a:xfrm>
                  <a:off x="5163797" y="3022238"/>
                  <a:ext cx="197428" cy="19742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p:cNvCxnSpPr>
                  <a:endCxn id="43" idx="2"/>
                </p:cNvCxnSpPr>
                <p:nvPr/>
              </p:nvCxnSpPr>
              <p:spPr>
                <a:xfrm>
                  <a:off x="4572000" y="3115757"/>
                  <a:ext cx="591797" cy="5195"/>
                </a:xfrm>
                <a:prstGeom prst="line">
                  <a:avLst/>
                </a:prstGeom>
                <a:grpFill/>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TextBox 38"/>
              <p:cNvSpPr txBox="1"/>
              <p:nvPr/>
            </p:nvSpPr>
            <p:spPr>
              <a:xfrm>
                <a:off x="8112843" y="1362723"/>
                <a:ext cx="880882" cy="338554"/>
              </a:xfrm>
              <a:prstGeom prst="rect">
                <a:avLst/>
              </a:prstGeom>
              <a:noFill/>
            </p:spPr>
            <p:txBody>
              <a:bodyPr wrap="none" rtlCol="0">
                <a:spAutoFit/>
              </a:bodyPr>
              <a:lstStyle/>
              <a:p>
                <a:r>
                  <a:rPr lang="en-US" sz="1600" dirty="0" smtClean="0">
                    <a:gradFill>
                      <a:gsLst>
                        <a:gs pos="0">
                          <a:schemeClr val="tx1"/>
                        </a:gs>
                        <a:gs pos="100000">
                          <a:schemeClr val="tx1"/>
                        </a:gs>
                      </a:gsLst>
                      <a:lin ang="5400000" scaled="0"/>
                    </a:gradFill>
                  </a:rPr>
                  <a:t>OAuth2</a:t>
                </a:r>
              </a:p>
            </p:txBody>
          </p:sp>
          <p:grpSp>
            <p:nvGrpSpPr>
              <p:cNvPr id="40" name="Group 39"/>
              <p:cNvGrpSpPr/>
              <p:nvPr/>
            </p:nvGrpSpPr>
            <p:grpSpPr>
              <a:xfrm>
                <a:off x="8096012" y="1973262"/>
                <a:ext cx="789225" cy="197428"/>
                <a:chOff x="4572000" y="3022238"/>
                <a:chExt cx="789225" cy="197428"/>
              </a:xfrm>
              <a:solidFill>
                <a:schemeClr val="tx1"/>
              </a:solidFill>
            </p:grpSpPr>
            <p:sp>
              <p:nvSpPr>
                <p:cNvPr id="41" name="Oval 40"/>
                <p:cNvSpPr/>
                <p:nvPr/>
              </p:nvSpPr>
              <p:spPr>
                <a:xfrm>
                  <a:off x="5163797" y="3022238"/>
                  <a:ext cx="197428" cy="19742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Straight Connector 41"/>
                <p:cNvCxnSpPr>
                  <a:endCxn id="41" idx="2"/>
                </p:cNvCxnSpPr>
                <p:nvPr/>
              </p:nvCxnSpPr>
              <p:spPr>
                <a:xfrm>
                  <a:off x="4572000" y="3115757"/>
                  <a:ext cx="591797" cy="5195"/>
                </a:xfrm>
                <a:prstGeom prst="line">
                  <a:avLst/>
                </a:prstGeom>
                <a:grpFill/>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grpSp>
        <p:nvGrpSpPr>
          <p:cNvPr id="51" name="Group 50"/>
          <p:cNvGrpSpPr/>
          <p:nvPr>
            <p:custDataLst>
              <p:custData r:id="rId4"/>
            </p:custDataLst>
          </p:nvPr>
        </p:nvGrpSpPr>
        <p:grpSpPr>
          <a:xfrm>
            <a:off x="2270988" y="1420721"/>
            <a:ext cx="2225811" cy="1406281"/>
            <a:chOff x="2155916" y="949105"/>
            <a:chExt cx="2225811" cy="1406281"/>
          </a:xfrm>
        </p:grpSpPr>
        <p:sp>
          <p:nvSpPr>
            <p:cNvPr id="52" name="TextBox 51"/>
            <p:cNvSpPr txBox="1"/>
            <p:nvPr/>
          </p:nvSpPr>
          <p:spPr>
            <a:xfrm>
              <a:off x="2408237" y="949105"/>
              <a:ext cx="1973490" cy="338554"/>
            </a:xfrm>
            <a:prstGeom prst="rect">
              <a:avLst/>
            </a:prstGeom>
            <a:noFill/>
          </p:spPr>
          <p:txBody>
            <a:bodyPr wrap="none" rtlCol="0">
              <a:spAutoFit/>
            </a:bodyPr>
            <a:lstStyle/>
            <a:p>
              <a:pPr algn="ctr"/>
              <a:r>
                <a:rPr lang="en-US" sz="1600" dirty="0" smtClean="0">
                  <a:gradFill>
                    <a:gsLst>
                      <a:gs pos="0">
                        <a:schemeClr val="tx1"/>
                      </a:gs>
                      <a:gs pos="100000">
                        <a:schemeClr val="tx1"/>
                      </a:gs>
                    </a:gsLst>
                    <a:lin ang="5400000" scaled="0"/>
                  </a:gradFill>
                </a:rPr>
                <a:t>Management Portal</a:t>
              </a:r>
            </a:p>
          </p:txBody>
        </p:sp>
        <p:pic>
          <p:nvPicPr>
            <p:cNvPr id="53" name="Picture 52"/>
            <p:cNvPicPr>
              <a:picLocks noChangeAspect="1"/>
            </p:cNvPicPr>
            <p:nvPr/>
          </p:nvPicPr>
          <p:blipFill>
            <a:blip r:embed="rId7"/>
            <a:stretch>
              <a:fillRect/>
            </a:stretch>
          </p:blipFill>
          <p:spPr>
            <a:xfrm>
              <a:off x="2155916" y="1263112"/>
              <a:ext cx="2147262" cy="1092274"/>
            </a:xfrm>
            <a:prstGeom prst="rect">
              <a:avLst/>
            </a:prstGeom>
          </p:spPr>
        </p:pic>
      </p:grpSp>
      <p:grpSp>
        <p:nvGrpSpPr>
          <p:cNvPr id="54" name="Group 53"/>
          <p:cNvGrpSpPr/>
          <p:nvPr>
            <p:custDataLst>
              <p:custData r:id="rId5"/>
            </p:custDataLst>
          </p:nvPr>
        </p:nvGrpSpPr>
        <p:grpSpPr>
          <a:xfrm>
            <a:off x="3374862" y="3541718"/>
            <a:ext cx="1096775" cy="519837"/>
            <a:chOff x="3246437" y="3155390"/>
            <a:chExt cx="1096775" cy="519837"/>
          </a:xfrm>
        </p:grpSpPr>
        <p:grpSp>
          <p:nvGrpSpPr>
            <p:cNvPr id="55" name="Group 54"/>
            <p:cNvGrpSpPr/>
            <p:nvPr/>
          </p:nvGrpSpPr>
          <p:grpSpPr>
            <a:xfrm flipH="1">
              <a:off x="3551237" y="3477799"/>
              <a:ext cx="789225" cy="197428"/>
              <a:chOff x="4572000" y="3022238"/>
              <a:chExt cx="789225" cy="197428"/>
            </a:xfrm>
            <a:solidFill>
              <a:schemeClr val="tx1"/>
            </a:solidFill>
          </p:grpSpPr>
          <p:sp>
            <p:nvSpPr>
              <p:cNvPr id="57" name="Oval 56"/>
              <p:cNvSpPr/>
              <p:nvPr/>
            </p:nvSpPr>
            <p:spPr>
              <a:xfrm>
                <a:off x="5163797" y="3022238"/>
                <a:ext cx="197428" cy="19742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 name="Straight Connector 57"/>
              <p:cNvCxnSpPr>
                <a:endCxn id="57" idx="2"/>
              </p:cNvCxnSpPr>
              <p:nvPr/>
            </p:nvCxnSpPr>
            <p:spPr>
              <a:xfrm>
                <a:off x="4572000" y="3115757"/>
                <a:ext cx="591797" cy="5195"/>
              </a:xfrm>
              <a:prstGeom prst="line">
                <a:avLst/>
              </a:prstGeom>
              <a:grpFill/>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6" name="TextBox 55"/>
            <p:cNvSpPr txBox="1"/>
            <p:nvPr/>
          </p:nvSpPr>
          <p:spPr>
            <a:xfrm>
              <a:off x="3246437" y="3155390"/>
              <a:ext cx="1096775" cy="338554"/>
            </a:xfrm>
            <a:prstGeom prst="rect">
              <a:avLst/>
            </a:prstGeom>
            <a:noFill/>
          </p:spPr>
          <p:txBody>
            <a:bodyPr wrap="none" rtlCol="0">
              <a:spAutoFit/>
            </a:bodyPr>
            <a:lstStyle/>
            <a:p>
              <a:pPr algn="r"/>
              <a:r>
                <a:rPr lang="en-US" sz="1600" dirty="0" smtClean="0">
                  <a:gradFill>
                    <a:gsLst>
                      <a:gs pos="0">
                        <a:schemeClr val="tx1"/>
                      </a:gs>
                      <a:gs pos="100000">
                        <a:schemeClr val="tx1"/>
                      </a:gs>
                    </a:gsLst>
                    <a:lin ang="5400000" scaled="0"/>
                  </a:gradFill>
                </a:rPr>
                <a:t>Graph API</a:t>
              </a:r>
            </a:p>
          </p:txBody>
        </p:sp>
      </p:grpSp>
    </p:spTree>
    <p:extLst>
      <p:ext uri="{BB962C8B-B14F-4D97-AF65-F5344CB8AC3E}">
        <p14:creationId xmlns:p14="http://schemas.microsoft.com/office/powerpoint/2010/main" val="1991724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1"/>
          </p:nvPr>
        </p:nvSpPr>
        <p:spPr>
          <a:xfrm>
            <a:off x="274637" y="1668482"/>
            <a:ext cx="3352799" cy="5029181"/>
          </a:xfrm>
        </p:spPr>
        <p:txBody>
          <a:bodyPr/>
          <a:lstStyle/>
          <a:p>
            <a:r>
              <a:rPr lang="en-US" dirty="0" smtClean="0"/>
              <a:t>Registration</a:t>
            </a:r>
          </a:p>
          <a:p>
            <a:pPr marL="342900" indent="-342900">
              <a:buFont typeface="Arial" panose="020B0604020202020204" pitchFamily="34" charset="0"/>
              <a:buChar char="•"/>
            </a:pPr>
            <a:r>
              <a:rPr lang="en-US" dirty="0" smtClean="0"/>
              <a:t>Today - via Graph Explorer</a:t>
            </a:r>
          </a:p>
          <a:p>
            <a:pPr marL="342900" indent="-342900">
              <a:buFont typeface="Arial" panose="020B0604020202020204" pitchFamily="34" charset="0"/>
              <a:buChar char="•"/>
            </a:pPr>
            <a:r>
              <a:rPr lang="en-US" dirty="0" smtClean="0"/>
              <a:t>Soon - via Windows Azure Portal</a:t>
            </a:r>
            <a:endParaRPr lang="en-US" dirty="0"/>
          </a:p>
        </p:txBody>
      </p:sp>
      <p:sp>
        <p:nvSpPr>
          <p:cNvPr id="2" name="Title 1"/>
          <p:cNvSpPr>
            <a:spLocks noGrp="1"/>
          </p:cNvSpPr>
          <p:nvPr>
            <p:ph type="title"/>
          </p:nvPr>
        </p:nvSpPr>
        <p:spPr/>
        <p:txBody>
          <a:bodyPr/>
          <a:lstStyle/>
          <a:p>
            <a:r>
              <a:rPr lang="en-US" dirty="0" smtClean="0"/>
              <a:t>Clients</a:t>
            </a:r>
            <a:r>
              <a:rPr lang="en-US" dirty="0"/>
              <a:t> </a:t>
            </a:r>
            <a:r>
              <a:rPr lang="en-US" dirty="0" smtClean="0"/>
              <a:t>and Resources in Windows Azure AD</a:t>
            </a:r>
            <a:endParaRPr lang="en-US" dirty="0"/>
          </a:p>
        </p:txBody>
      </p:sp>
      <p:grpSp>
        <p:nvGrpSpPr>
          <p:cNvPr id="6" name="Group 5"/>
          <p:cNvGrpSpPr/>
          <p:nvPr>
            <p:custDataLst>
              <p:custData r:id="rId1"/>
            </p:custDataLst>
          </p:nvPr>
        </p:nvGrpSpPr>
        <p:grpSpPr>
          <a:xfrm>
            <a:off x="7913665" y="1496412"/>
            <a:ext cx="849836" cy="732617"/>
            <a:chOff x="5350643" y="4945062"/>
            <a:chExt cx="1944624" cy="1676400"/>
          </a:xfrm>
        </p:grpSpPr>
        <p:sp>
          <p:nvSpPr>
            <p:cNvPr id="7" name="Isosceles Triangle 6"/>
            <p:cNvSpPr/>
            <p:nvPr/>
          </p:nvSpPr>
          <p:spPr bwMode="auto">
            <a:xfrm>
              <a:off x="5350643" y="4945062"/>
              <a:ext cx="1944624" cy="1676400"/>
            </a:xfrm>
            <a:prstGeom prst="triangle">
              <a:avLst/>
            </a:prstGeom>
            <a:noFill/>
            <a:ln w="381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anchor="t" anchorCtr="0"/>
            <a:lstStyle/>
            <a:p>
              <a:pPr algn="ctr" defTabSz="685598"/>
              <a:endParaRPr lang="en-US" sz="1176" spc="-75" dirty="0">
                <a:gradFill>
                  <a:gsLst>
                    <a:gs pos="0">
                      <a:schemeClr val="bg1"/>
                    </a:gs>
                    <a:gs pos="100000">
                      <a:schemeClr val="bg1"/>
                    </a:gs>
                  </a:gsLst>
                  <a:lin ang="5400000" scaled="0"/>
                </a:gradFill>
                <a:ea typeface="Segoe UI" pitchFamily="34" charset="0"/>
                <a:cs typeface="Segoe UI" pitchFamily="34" charset="0"/>
              </a:endParaRPr>
            </a:p>
          </p:txBody>
        </p:sp>
        <p:sp>
          <p:nvSpPr>
            <p:cNvPr id="8" name="Freeform 7"/>
            <p:cNvSpPr/>
            <p:nvPr/>
          </p:nvSpPr>
          <p:spPr bwMode="auto">
            <a:xfrm>
              <a:off x="5818065" y="5611496"/>
              <a:ext cx="504890" cy="912700"/>
            </a:xfrm>
            <a:custGeom>
              <a:avLst/>
              <a:gdLst>
                <a:gd name="connsiteX0" fmla="*/ 993982 w 1938076"/>
                <a:gd name="connsiteY0" fmla="*/ 706921 h 3503500"/>
                <a:gd name="connsiteX1" fmla="*/ 1086674 w 1938076"/>
                <a:gd name="connsiteY1" fmla="*/ 727483 h 3503500"/>
                <a:gd name="connsiteX2" fmla="*/ 1094101 w 1938076"/>
                <a:gd name="connsiteY2" fmla="*/ 732985 h 3503500"/>
                <a:gd name="connsiteX3" fmla="*/ 1160279 w 1938076"/>
                <a:gd name="connsiteY3" fmla="*/ 756535 h 3503500"/>
                <a:gd name="connsiteX4" fmla="*/ 1840549 w 1938076"/>
                <a:gd name="connsiteY4" fmla="*/ 1149289 h 3503500"/>
                <a:gd name="connsiteX5" fmla="*/ 1917119 w 1938076"/>
                <a:gd name="connsiteY5" fmla="*/ 1389312 h 3503500"/>
                <a:gd name="connsiteX6" fmla="*/ 1670967 w 1938076"/>
                <a:gd name="connsiteY6" fmla="*/ 1443012 h 3503500"/>
                <a:gd name="connsiteX7" fmla="*/ 1232107 w 1938076"/>
                <a:gd name="connsiteY7" fmla="*/ 1189637 h 3503500"/>
                <a:gd name="connsiteX8" fmla="*/ 1232107 w 1938076"/>
                <a:gd name="connsiteY8" fmla="*/ 2071559 h 3503500"/>
                <a:gd name="connsiteX9" fmla="*/ 1227350 w 1938076"/>
                <a:gd name="connsiteY9" fmla="*/ 2123404 h 3503500"/>
                <a:gd name="connsiteX10" fmla="*/ 1232751 w 1938076"/>
                <a:gd name="connsiteY10" fmla="*/ 2127041 h 3503500"/>
                <a:gd name="connsiteX11" fmla="*/ 1296572 w 1938076"/>
                <a:gd name="connsiteY11" fmla="*/ 2207782 h 3503500"/>
                <a:gd name="connsiteX12" fmla="*/ 1848074 w 1938076"/>
                <a:gd name="connsiteY12" fmla="*/ 3163012 h 3503500"/>
                <a:gd name="connsiteX13" fmla="*/ 1814681 w 1938076"/>
                <a:gd name="connsiteY13" fmla="*/ 3484401 h 3503500"/>
                <a:gd name="connsiteX14" fmla="*/ 1519652 w 1938076"/>
                <a:gd name="connsiteY14" fmla="*/ 3352626 h 3503500"/>
                <a:gd name="connsiteX15" fmla="*/ 982472 w 1938076"/>
                <a:gd name="connsiteY15" fmla="*/ 2422203 h 3503500"/>
                <a:gd name="connsiteX16" fmla="*/ 445292 w 1938076"/>
                <a:gd name="connsiteY16" fmla="*/ 3352626 h 3503500"/>
                <a:gd name="connsiteX17" fmla="*/ 150263 w 1938076"/>
                <a:gd name="connsiteY17" fmla="*/ 3484402 h 3503500"/>
                <a:gd name="connsiteX18" fmla="*/ 116869 w 1938076"/>
                <a:gd name="connsiteY18" fmla="*/ 3163011 h 3503500"/>
                <a:gd name="connsiteX19" fmla="*/ 668372 w 1938076"/>
                <a:gd name="connsiteY19" fmla="*/ 2207783 h 3503500"/>
                <a:gd name="connsiteX20" fmla="*/ 714653 w 1938076"/>
                <a:gd name="connsiteY20" fmla="*/ 2144671 h 3503500"/>
                <a:gd name="connsiteX21" fmla="*/ 759050 w 1938076"/>
                <a:gd name="connsiteY21" fmla="*/ 2106359 h 3503500"/>
                <a:gd name="connsiteX22" fmla="*/ 755857 w 1938076"/>
                <a:gd name="connsiteY22" fmla="*/ 2071559 h 3503500"/>
                <a:gd name="connsiteX23" fmla="*/ 755857 w 1938076"/>
                <a:gd name="connsiteY23" fmla="*/ 1160834 h 3503500"/>
                <a:gd name="connsiteX24" fmla="*/ 267109 w 1938076"/>
                <a:gd name="connsiteY24" fmla="*/ 1443012 h 3503500"/>
                <a:gd name="connsiteX25" fmla="*/ 20957 w 1938076"/>
                <a:gd name="connsiteY25" fmla="*/ 1389312 h 3503500"/>
                <a:gd name="connsiteX26" fmla="*/ 97527 w 1938076"/>
                <a:gd name="connsiteY26" fmla="*/ 1149289 h 3503500"/>
                <a:gd name="connsiteX27" fmla="*/ 777797 w 1938076"/>
                <a:gd name="connsiteY27" fmla="*/ 756535 h 3503500"/>
                <a:gd name="connsiteX28" fmla="*/ 847265 w 1938076"/>
                <a:gd name="connsiteY28" fmla="*/ 731815 h 3503500"/>
                <a:gd name="connsiteX29" fmla="*/ 893762 w 1938076"/>
                <a:gd name="connsiteY29" fmla="*/ 733060 h 3503500"/>
                <a:gd name="connsiteX30" fmla="*/ 901290 w 1938076"/>
                <a:gd name="connsiteY30" fmla="*/ 727483 h 3503500"/>
                <a:gd name="connsiteX31" fmla="*/ 993982 w 1938076"/>
                <a:gd name="connsiteY31" fmla="*/ 706921 h 3503500"/>
                <a:gd name="connsiteX32" fmla="*/ 993981 w 1938076"/>
                <a:gd name="connsiteY32" fmla="*/ 0 h 3503500"/>
                <a:gd name="connsiteX33" fmla="*/ 1336881 w 1938076"/>
                <a:gd name="connsiteY33" fmla="*/ 342900 h 3503500"/>
                <a:gd name="connsiteX34" fmla="*/ 993981 w 1938076"/>
                <a:gd name="connsiteY34" fmla="*/ 685800 h 3503500"/>
                <a:gd name="connsiteX35" fmla="*/ 651081 w 1938076"/>
                <a:gd name="connsiteY35" fmla="*/ 342900 h 3503500"/>
                <a:gd name="connsiteX36" fmla="*/ 993981 w 1938076"/>
                <a:gd name="connsiteY36" fmla="*/ 0 h 35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8076" h="3503500">
                  <a:moveTo>
                    <a:pt x="993982" y="706921"/>
                  </a:moveTo>
                  <a:cubicBezTo>
                    <a:pt x="1026862" y="706921"/>
                    <a:pt x="1058185" y="714243"/>
                    <a:pt x="1086674" y="727483"/>
                  </a:cubicBezTo>
                  <a:lnTo>
                    <a:pt x="1094101" y="732985"/>
                  </a:lnTo>
                  <a:lnTo>
                    <a:pt x="1160279" y="756535"/>
                  </a:lnTo>
                  <a:lnTo>
                    <a:pt x="1840549" y="1149289"/>
                  </a:lnTo>
                  <a:cubicBezTo>
                    <a:pt x="1929657" y="1200736"/>
                    <a:pt x="1963949" y="1308199"/>
                    <a:pt x="1917119" y="1389312"/>
                  </a:cubicBezTo>
                  <a:cubicBezTo>
                    <a:pt x="1870287" y="1470426"/>
                    <a:pt x="1760075" y="1494459"/>
                    <a:pt x="1670967" y="1443012"/>
                  </a:cubicBezTo>
                  <a:lnTo>
                    <a:pt x="1232107" y="1189637"/>
                  </a:lnTo>
                  <a:lnTo>
                    <a:pt x="1232107" y="2071559"/>
                  </a:lnTo>
                  <a:lnTo>
                    <a:pt x="1227350" y="2123404"/>
                  </a:lnTo>
                  <a:lnTo>
                    <a:pt x="1232751" y="2127041"/>
                  </a:lnTo>
                  <a:cubicBezTo>
                    <a:pt x="1256711" y="2149351"/>
                    <a:pt x="1278511" y="2176501"/>
                    <a:pt x="1296572" y="2207782"/>
                  </a:cubicBezTo>
                  <a:lnTo>
                    <a:pt x="1848074" y="3163012"/>
                  </a:lnTo>
                  <a:cubicBezTo>
                    <a:pt x="1920315" y="3288137"/>
                    <a:pt x="1905376" y="3432038"/>
                    <a:pt x="1814681" y="3484401"/>
                  </a:cubicBezTo>
                  <a:cubicBezTo>
                    <a:pt x="1723984" y="3536765"/>
                    <a:pt x="1591893" y="3477752"/>
                    <a:pt x="1519652" y="3352626"/>
                  </a:cubicBezTo>
                  <a:lnTo>
                    <a:pt x="982472" y="2422203"/>
                  </a:lnTo>
                  <a:lnTo>
                    <a:pt x="445292" y="3352626"/>
                  </a:lnTo>
                  <a:cubicBezTo>
                    <a:pt x="373050" y="3477752"/>
                    <a:pt x="240960" y="3536765"/>
                    <a:pt x="150263" y="3484402"/>
                  </a:cubicBezTo>
                  <a:cubicBezTo>
                    <a:pt x="59567" y="3432038"/>
                    <a:pt x="44629" y="3288137"/>
                    <a:pt x="116869" y="3163011"/>
                  </a:cubicBezTo>
                  <a:lnTo>
                    <a:pt x="668372" y="2207783"/>
                  </a:lnTo>
                  <a:cubicBezTo>
                    <a:pt x="681918" y="2184322"/>
                    <a:pt x="697567" y="2163185"/>
                    <a:pt x="714653" y="2144671"/>
                  </a:cubicBezTo>
                  <a:lnTo>
                    <a:pt x="759050" y="2106359"/>
                  </a:lnTo>
                  <a:lnTo>
                    <a:pt x="755857" y="2071559"/>
                  </a:lnTo>
                  <a:lnTo>
                    <a:pt x="755857" y="1160834"/>
                  </a:lnTo>
                  <a:lnTo>
                    <a:pt x="267109" y="1443012"/>
                  </a:lnTo>
                  <a:cubicBezTo>
                    <a:pt x="178001" y="1494459"/>
                    <a:pt x="67789" y="1470426"/>
                    <a:pt x="20957" y="1389312"/>
                  </a:cubicBezTo>
                  <a:cubicBezTo>
                    <a:pt x="-25874" y="1308198"/>
                    <a:pt x="8419" y="1200735"/>
                    <a:pt x="97527" y="1149289"/>
                  </a:cubicBezTo>
                  <a:lnTo>
                    <a:pt x="777797" y="756535"/>
                  </a:lnTo>
                  <a:cubicBezTo>
                    <a:pt x="800074" y="743673"/>
                    <a:pt x="823670" y="735529"/>
                    <a:pt x="847265" y="731815"/>
                  </a:cubicBezTo>
                  <a:lnTo>
                    <a:pt x="893762" y="733060"/>
                  </a:lnTo>
                  <a:lnTo>
                    <a:pt x="901290" y="727483"/>
                  </a:lnTo>
                  <a:cubicBezTo>
                    <a:pt x="929779" y="714243"/>
                    <a:pt x="961102" y="706921"/>
                    <a:pt x="993982" y="706921"/>
                  </a:cubicBezTo>
                  <a:close/>
                  <a:moveTo>
                    <a:pt x="993981" y="0"/>
                  </a:moveTo>
                  <a:cubicBezTo>
                    <a:pt x="1183359" y="0"/>
                    <a:pt x="1336881" y="153522"/>
                    <a:pt x="1336881" y="342900"/>
                  </a:cubicBezTo>
                  <a:cubicBezTo>
                    <a:pt x="1336881" y="532278"/>
                    <a:pt x="1183359" y="685800"/>
                    <a:pt x="993981" y="685800"/>
                  </a:cubicBezTo>
                  <a:cubicBezTo>
                    <a:pt x="804603" y="685800"/>
                    <a:pt x="651081" y="532278"/>
                    <a:pt x="651081" y="342900"/>
                  </a:cubicBezTo>
                  <a:cubicBezTo>
                    <a:pt x="651081" y="153522"/>
                    <a:pt x="804603" y="0"/>
                    <a:pt x="99398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t" anchorCtr="0"/>
            <a:lstStyle/>
            <a:p>
              <a:pPr algn="ctr" defTabSz="685598"/>
              <a:endParaRPr lang="en-US" sz="1176" spc="-75"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8"/>
            <p:cNvSpPr/>
            <p:nvPr/>
          </p:nvSpPr>
          <p:spPr bwMode="auto">
            <a:xfrm>
              <a:off x="6338338" y="5611496"/>
              <a:ext cx="504890" cy="912700"/>
            </a:xfrm>
            <a:custGeom>
              <a:avLst/>
              <a:gdLst>
                <a:gd name="connsiteX0" fmla="*/ 993982 w 1938076"/>
                <a:gd name="connsiteY0" fmla="*/ 706921 h 3503500"/>
                <a:gd name="connsiteX1" fmla="*/ 1086674 w 1938076"/>
                <a:gd name="connsiteY1" fmla="*/ 727483 h 3503500"/>
                <a:gd name="connsiteX2" fmla="*/ 1094101 w 1938076"/>
                <a:gd name="connsiteY2" fmla="*/ 732985 h 3503500"/>
                <a:gd name="connsiteX3" fmla="*/ 1160279 w 1938076"/>
                <a:gd name="connsiteY3" fmla="*/ 756535 h 3503500"/>
                <a:gd name="connsiteX4" fmla="*/ 1840549 w 1938076"/>
                <a:gd name="connsiteY4" fmla="*/ 1149289 h 3503500"/>
                <a:gd name="connsiteX5" fmla="*/ 1917119 w 1938076"/>
                <a:gd name="connsiteY5" fmla="*/ 1389312 h 3503500"/>
                <a:gd name="connsiteX6" fmla="*/ 1670967 w 1938076"/>
                <a:gd name="connsiteY6" fmla="*/ 1443012 h 3503500"/>
                <a:gd name="connsiteX7" fmla="*/ 1232107 w 1938076"/>
                <a:gd name="connsiteY7" fmla="*/ 1189637 h 3503500"/>
                <a:gd name="connsiteX8" fmla="*/ 1232107 w 1938076"/>
                <a:gd name="connsiteY8" fmla="*/ 2071559 h 3503500"/>
                <a:gd name="connsiteX9" fmla="*/ 1227350 w 1938076"/>
                <a:gd name="connsiteY9" fmla="*/ 2123404 h 3503500"/>
                <a:gd name="connsiteX10" fmla="*/ 1232751 w 1938076"/>
                <a:gd name="connsiteY10" fmla="*/ 2127041 h 3503500"/>
                <a:gd name="connsiteX11" fmla="*/ 1296572 w 1938076"/>
                <a:gd name="connsiteY11" fmla="*/ 2207782 h 3503500"/>
                <a:gd name="connsiteX12" fmla="*/ 1848074 w 1938076"/>
                <a:gd name="connsiteY12" fmla="*/ 3163012 h 3503500"/>
                <a:gd name="connsiteX13" fmla="*/ 1814681 w 1938076"/>
                <a:gd name="connsiteY13" fmla="*/ 3484401 h 3503500"/>
                <a:gd name="connsiteX14" fmla="*/ 1519652 w 1938076"/>
                <a:gd name="connsiteY14" fmla="*/ 3352626 h 3503500"/>
                <a:gd name="connsiteX15" fmla="*/ 982472 w 1938076"/>
                <a:gd name="connsiteY15" fmla="*/ 2422203 h 3503500"/>
                <a:gd name="connsiteX16" fmla="*/ 445292 w 1938076"/>
                <a:gd name="connsiteY16" fmla="*/ 3352626 h 3503500"/>
                <a:gd name="connsiteX17" fmla="*/ 150263 w 1938076"/>
                <a:gd name="connsiteY17" fmla="*/ 3484402 h 3503500"/>
                <a:gd name="connsiteX18" fmla="*/ 116869 w 1938076"/>
                <a:gd name="connsiteY18" fmla="*/ 3163011 h 3503500"/>
                <a:gd name="connsiteX19" fmla="*/ 668372 w 1938076"/>
                <a:gd name="connsiteY19" fmla="*/ 2207783 h 3503500"/>
                <a:gd name="connsiteX20" fmla="*/ 714653 w 1938076"/>
                <a:gd name="connsiteY20" fmla="*/ 2144671 h 3503500"/>
                <a:gd name="connsiteX21" fmla="*/ 759050 w 1938076"/>
                <a:gd name="connsiteY21" fmla="*/ 2106359 h 3503500"/>
                <a:gd name="connsiteX22" fmla="*/ 755857 w 1938076"/>
                <a:gd name="connsiteY22" fmla="*/ 2071559 h 3503500"/>
                <a:gd name="connsiteX23" fmla="*/ 755857 w 1938076"/>
                <a:gd name="connsiteY23" fmla="*/ 1160834 h 3503500"/>
                <a:gd name="connsiteX24" fmla="*/ 267109 w 1938076"/>
                <a:gd name="connsiteY24" fmla="*/ 1443012 h 3503500"/>
                <a:gd name="connsiteX25" fmla="*/ 20957 w 1938076"/>
                <a:gd name="connsiteY25" fmla="*/ 1389312 h 3503500"/>
                <a:gd name="connsiteX26" fmla="*/ 97527 w 1938076"/>
                <a:gd name="connsiteY26" fmla="*/ 1149289 h 3503500"/>
                <a:gd name="connsiteX27" fmla="*/ 777797 w 1938076"/>
                <a:gd name="connsiteY27" fmla="*/ 756535 h 3503500"/>
                <a:gd name="connsiteX28" fmla="*/ 847265 w 1938076"/>
                <a:gd name="connsiteY28" fmla="*/ 731815 h 3503500"/>
                <a:gd name="connsiteX29" fmla="*/ 893762 w 1938076"/>
                <a:gd name="connsiteY29" fmla="*/ 733060 h 3503500"/>
                <a:gd name="connsiteX30" fmla="*/ 901290 w 1938076"/>
                <a:gd name="connsiteY30" fmla="*/ 727483 h 3503500"/>
                <a:gd name="connsiteX31" fmla="*/ 993982 w 1938076"/>
                <a:gd name="connsiteY31" fmla="*/ 706921 h 3503500"/>
                <a:gd name="connsiteX32" fmla="*/ 993981 w 1938076"/>
                <a:gd name="connsiteY32" fmla="*/ 0 h 3503500"/>
                <a:gd name="connsiteX33" fmla="*/ 1336881 w 1938076"/>
                <a:gd name="connsiteY33" fmla="*/ 342900 h 3503500"/>
                <a:gd name="connsiteX34" fmla="*/ 993981 w 1938076"/>
                <a:gd name="connsiteY34" fmla="*/ 685800 h 3503500"/>
                <a:gd name="connsiteX35" fmla="*/ 651081 w 1938076"/>
                <a:gd name="connsiteY35" fmla="*/ 342900 h 3503500"/>
                <a:gd name="connsiteX36" fmla="*/ 993981 w 1938076"/>
                <a:gd name="connsiteY36" fmla="*/ 0 h 350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8076" h="3503500">
                  <a:moveTo>
                    <a:pt x="993982" y="706921"/>
                  </a:moveTo>
                  <a:cubicBezTo>
                    <a:pt x="1026862" y="706921"/>
                    <a:pt x="1058185" y="714243"/>
                    <a:pt x="1086674" y="727483"/>
                  </a:cubicBezTo>
                  <a:lnTo>
                    <a:pt x="1094101" y="732985"/>
                  </a:lnTo>
                  <a:lnTo>
                    <a:pt x="1160279" y="756535"/>
                  </a:lnTo>
                  <a:lnTo>
                    <a:pt x="1840549" y="1149289"/>
                  </a:lnTo>
                  <a:cubicBezTo>
                    <a:pt x="1929657" y="1200736"/>
                    <a:pt x="1963949" y="1308199"/>
                    <a:pt x="1917119" y="1389312"/>
                  </a:cubicBezTo>
                  <a:cubicBezTo>
                    <a:pt x="1870287" y="1470426"/>
                    <a:pt x="1760075" y="1494459"/>
                    <a:pt x="1670967" y="1443012"/>
                  </a:cubicBezTo>
                  <a:lnTo>
                    <a:pt x="1232107" y="1189637"/>
                  </a:lnTo>
                  <a:lnTo>
                    <a:pt x="1232107" y="2071559"/>
                  </a:lnTo>
                  <a:lnTo>
                    <a:pt x="1227350" y="2123404"/>
                  </a:lnTo>
                  <a:lnTo>
                    <a:pt x="1232751" y="2127041"/>
                  </a:lnTo>
                  <a:cubicBezTo>
                    <a:pt x="1256711" y="2149351"/>
                    <a:pt x="1278511" y="2176501"/>
                    <a:pt x="1296572" y="2207782"/>
                  </a:cubicBezTo>
                  <a:lnTo>
                    <a:pt x="1848074" y="3163012"/>
                  </a:lnTo>
                  <a:cubicBezTo>
                    <a:pt x="1920315" y="3288137"/>
                    <a:pt x="1905376" y="3432038"/>
                    <a:pt x="1814681" y="3484401"/>
                  </a:cubicBezTo>
                  <a:cubicBezTo>
                    <a:pt x="1723984" y="3536765"/>
                    <a:pt x="1591893" y="3477752"/>
                    <a:pt x="1519652" y="3352626"/>
                  </a:cubicBezTo>
                  <a:lnTo>
                    <a:pt x="982472" y="2422203"/>
                  </a:lnTo>
                  <a:lnTo>
                    <a:pt x="445292" y="3352626"/>
                  </a:lnTo>
                  <a:cubicBezTo>
                    <a:pt x="373050" y="3477752"/>
                    <a:pt x="240960" y="3536765"/>
                    <a:pt x="150263" y="3484402"/>
                  </a:cubicBezTo>
                  <a:cubicBezTo>
                    <a:pt x="59567" y="3432038"/>
                    <a:pt x="44629" y="3288137"/>
                    <a:pt x="116869" y="3163011"/>
                  </a:cubicBezTo>
                  <a:lnTo>
                    <a:pt x="668372" y="2207783"/>
                  </a:lnTo>
                  <a:cubicBezTo>
                    <a:pt x="681918" y="2184322"/>
                    <a:pt x="697567" y="2163185"/>
                    <a:pt x="714653" y="2144671"/>
                  </a:cubicBezTo>
                  <a:lnTo>
                    <a:pt x="759050" y="2106359"/>
                  </a:lnTo>
                  <a:lnTo>
                    <a:pt x="755857" y="2071559"/>
                  </a:lnTo>
                  <a:lnTo>
                    <a:pt x="755857" y="1160834"/>
                  </a:lnTo>
                  <a:lnTo>
                    <a:pt x="267109" y="1443012"/>
                  </a:lnTo>
                  <a:cubicBezTo>
                    <a:pt x="178001" y="1494459"/>
                    <a:pt x="67789" y="1470426"/>
                    <a:pt x="20957" y="1389312"/>
                  </a:cubicBezTo>
                  <a:cubicBezTo>
                    <a:pt x="-25874" y="1308198"/>
                    <a:pt x="8419" y="1200735"/>
                    <a:pt x="97527" y="1149289"/>
                  </a:cubicBezTo>
                  <a:lnTo>
                    <a:pt x="777797" y="756535"/>
                  </a:lnTo>
                  <a:cubicBezTo>
                    <a:pt x="800074" y="743673"/>
                    <a:pt x="823670" y="735529"/>
                    <a:pt x="847265" y="731815"/>
                  </a:cubicBezTo>
                  <a:lnTo>
                    <a:pt x="893762" y="733060"/>
                  </a:lnTo>
                  <a:lnTo>
                    <a:pt x="901290" y="727483"/>
                  </a:lnTo>
                  <a:cubicBezTo>
                    <a:pt x="929779" y="714243"/>
                    <a:pt x="961102" y="706921"/>
                    <a:pt x="993982" y="706921"/>
                  </a:cubicBezTo>
                  <a:close/>
                  <a:moveTo>
                    <a:pt x="993981" y="0"/>
                  </a:moveTo>
                  <a:cubicBezTo>
                    <a:pt x="1183359" y="0"/>
                    <a:pt x="1336881" y="153522"/>
                    <a:pt x="1336881" y="342900"/>
                  </a:cubicBezTo>
                  <a:cubicBezTo>
                    <a:pt x="1336881" y="532278"/>
                    <a:pt x="1183359" y="685800"/>
                    <a:pt x="993981" y="685800"/>
                  </a:cubicBezTo>
                  <a:cubicBezTo>
                    <a:pt x="804603" y="685800"/>
                    <a:pt x="651081" y="532278"/>
                    <a:pt x="651081" y="342900"/>
                  </a:cubicBezTo>
                  <a:cubicBezTo>
                    <a:pt x="651081" y="153522"/>
                    <a:pt x="804603" y="0"/>
                    <a:pt x="99398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t" anchorCtr="0"/>
            <a:lstStyle/>
            <a:p>
              <a:pPr algn="ctr" defTabSz="685598"/>
              <a:endParaRPr lang="en-US" sz="1176" spc="-75" dirty="0">
                <a:gradFill>
                  <a:gsLst>
                    <a:gs pos="0">
                      <a:srgbClr val="FFFFFF"/>
                    </a:gs>
                    <a:gs pos="100000">
                      <a:srgbClr val="FFFFFF"/>
                    </a:gs>
                  </a:gsLst>
                  <a:lin ang="5400000" scaled="0"/>
                </a:gradFill>
                <a:ea typeface="Segoe UI" pitchFamily="34" charset="0"/>
                <a:cs typeface="Segoe UI" pitchFamily="34" charset="0"/>
              </a:endParaRPr>
            </a:p>
          </p:txBody>
        </p:sp>
      </p:grpSp>
      <p:sp>
        <p:nvSpPr>
          <p:cNvPr id="10" name="Rectangle 9"/>
          <p:cNvSpPr/>
          <p:nvPr/>
        </p:nvSpPr>
        <p:spPr>
          <a:xfrm>
            <a:off x="5837237" y="2229029"/>
            <a:ext cx="5042452" cy="1542197"/>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p:custDataLst>
              <p:custData r:id="rId2"/>
            </p:custDataLst>
          </p:nvPr>
        </p:nvGrpSpPr>
        <p:grpSpPr>
          <a:xfrm>
            <a:off x="4319004" y="5249862"/>
            <a:ext cx="1004578" cy="1255014"/>
            <a:chOff x="463390" y="6616489"/>
            <a:chExt cx="1004578" cy="1255014"/>
          </a:xfrm>
        </p:grpSpPr>
        <p:sp>
          <p:nvSpPr>
            <p:cNvPr id="12" name="Freeform 11"/>
            <p:cNvSpPr/>
            <p:nvPr/>
          </p:nvSpPr>
          <p:spPr bwMode="auto">
            <a:xfrm>
              <a:off x="463390" y="6616489"/>
              <a:ext cx="1004578" cy="1004578"/>
            </a:xfrm>
            <a:custGeom>
              <a:avLst/>
              <a:gdLst>
                <a:gd name="connsiteX0" fmla="*/ 533769 w 1004578"/>
                <a:gd name="connsiteY0" fmla="*/ 537339 h 1004578"/>
                <a:gd name="connsiteX1" fmla="*/ 533769 w 1004578"/>
                <a:gd name="connsiteY1" fmla="*/ 918339 h 1004578"/>
                <a:gd name="connsiteX2" fmla="*/ 914769 w 1004578"/>
                <a:gd name="connsiteY2" fmla="*/ 918339 h 1004578"/>
                <a:gd name="connsiteX3" fmla="*/ 914769 w 1004578"/>
                <a:gd name="connsiteY3" fmla="*/ 537339 h 1004578"/>
                <a:gd name="connsiteX4" fmla="*/ 89809 w 1004578"/>
                <a:gd name="connsiteY4" fmla="*/ 537339 h 1004578"/>
                <a:gd name="connsiteX5" fmla="*/ 89809 w 1004578"/>
                <a:gd name="connsiteY5" fmla="*/ 918339 h 1004578"/>
                <a:gd name="connsiteX6" fmla="*/ 470809 w 1004578"/>
                <a:gd name="connsiteY6" fmla="*/ 918339 h 1004578"/>
                <a:gd name="connsiteX7" fmla="*/ 470809 w 1004578"/>
                <a:gd name="connsiteY7" fmla="*/ 537339 h 1004578"/>
                <a:gd name="connsiteX8" fmla="*/ 731654 w 1004578"/>
                <a:gd name="connsiteY8" fmla="*/ 284124 h 1004578"/>
                <a:gd name="connsiteX9" fmla="*/ 731654 w 1004578"/>
                <a:gd name="connsiteY9" fmla="*/ 467239 h 1004578"/>
                <a:gd name="connsiteX10" fmla="*/ 914769 w 1004578"/>
                <a:gd name="connsiteY10" fmla="*/ 467239 h 1004578"/>
                <a:gd name="connsiteX11" fmla="*/ 914769 w 1004578"/>
                <a:gd name="connsiteY11" fmla="*/ 284124 h 1004578"/>
                <a:gd name="connsiteX12" fmla="*/ 533769 w 1004578"/>
                <a:gd name="connsiteY12" fmla="*/ 284124 h 1004578"/>
                <a:gd name="connsiteX13" fmla="*/ 533769 w 1004578"/>
                <a:gd name="connsiteY13" fmla="*/ 467239 h 1004578"/>
                <a:gd name="connsiteX14" fmla="*/ 716884 w 1004578"/>
                <a:gd name="connsiteY14" fmla="*/ 467239 h 1004578"/>
                <a:gd name="connsiteX15" fmla="*/ 716884 w 1004578"/>
                <a:gd name="connsiteY15" fmla="*/ 284124 h 1004578"/>
                <a:gd name="connsiteX16" fmla="*/ 730735 w 1004578"/>
                <a:gd name="connsiteY16" fmla="*/ 86239 h 1004578"/>
                <a:gd name="connsiteX17" fmla="*/ 730735 w 1004578"/>
                <a:gd name="connsiteY17" fmla="*/ 269354 h 1004578"/>
                <a:gd name="connsiteX18" fmla="*/ 913850 w 1004578"/>
                <a:gd name="connsiteY18" fmla="*/ 269354 h 1004578"/>
                <a:gd name="connsiteX19" fmla="*/ 913850 w 1004578"/>
                <a:gd name="connsiteY19" fmla="*/ 86239 h 1004578"/>
                <a:gd name="connsiteX20" fmla="*/ 533769 w 1004578"/>
                <a:gd name="connsiteY20" fmla="*/ 86239 h 1004578"/>
                <a:gd name="connsiteX21" fmla="*/ 533769 w 1004578"/>
                <a:gd name="connsiteY21" fmla="*/ 269354 h 1004578"/>
                <a:gd name="connsiteX22" fmla="*/ 716884 w 1004578"/>
                <a:gd name="connsiteY22" fmla="*/ 269354 h 1004578"/>
                <a:gd name="connsiteX23" fmla="*/ 716884 w 1004578"/>
                <a:gd name="connsiteY23" fmla="*/ 86239 h 1004578"/>
                <a:gd name="connsiteX24" fmla="*/ 89809 w 1004578"/>
                <a:gd name="connsiteY24" fmla="*/ 86239 h 1004578"/>
                <a:gd name="connsiteX25" fmla="*/ 89809 w 1004578"/>
                <a:gd name="connsiteY25" fmla="*/ 467239 h 1004578"/>
                <a:gd name="connsiteX26" fmla="*/ 470809 w 1004578"/>
                <a:gd name="connsiteY26" fmla="*/ 467239 h 1004578"/>
                <a:gd name="connsiteX27" fmla="*/ 470809 w 1004578"/>
                <a:gd name="connsiteY27" fmla="*/ 86239 h 1004578"/>
                <a:gd name="connsiteX28" fmla="*/ 0 w 1004578"/>
                <a:gd name="connsiteY28" fmla="*/ 0 h 1004578"/>
                <a:gd name="connsiteX29" fmla="*/ 1004578 w 1004578"/>
                <a:gd name="connsiteY29" fmla="*/ 0 h 1004578"/>
                <a:gd name="connsiteX30" fmla="*/ 1004578 w 1004578"/>
                <a:gd name="connsiteY30" fmla="*/ 1004578 h 1004578"/>
                <a:gd name="connsiteX31" fmla="*/ 0 w 1004578"/>
                <a:gd name="connsiteY31" fmla="*/ 1004578 h 100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4578" h="1004578">
                  <a:moveTo>
                    <a:pt x="533769" y="537339"/>
                  </a:moveTo>
                  <a:lnTo>
                    <a:pt x="533769" y="918339"/>
                  </a:lnTo>
                  <a:lnTo>
                    <a:pt x="914769" y="918339"/>
                  </a:lnTo>
                  <a:lnTo>
                    <a:pt x="914769" y="537339"/>
                  </a:lnTo>
                  <a:close/>
                  <a:moveTo>
                    <a:pt x="89809" y="537339"/>
                  </a:moveTo>
                  <a:lnTo>
                    <a:pt x="89809" y="918339"/>
                  </a:lnTo>
                  <a:lnTo>
                    <a:pt x="470809" y="918339"/>
                  </a:lnTo>
                  <a:lnTo>
                    <a:pt x="470809" y="537339"/>
                  </a:lnTo>
                  <a:close/>
                  <a:moveTo>
                    <a:pt x="731654" y="284124"/>
                  </a:moveTo>
                  <a:lnTo>
                    <a:pt x="731654" y="467239"/>
                  </a:lnTo>
                  <a:lnTo>
                    <a:pt x="914769" y="467239"/>
                  </a:lnTo>
                  <a:lnTo>
                    <a:pt x="914769" y="284124"/>
                  </a:lnTo>
                  <a:close/>
                  <a:moveTo>
                    <a:pt x="533769" y="284124"/>
                  </a:moveTo>
                  <a:lnTo>
                    <a:pt x="533769" y="467239"/>
                  </a:lnTo>
                  <a:lnTo>
                    <a:pt x="716884" y="467239"/>
                  </a:lnTo>
                  <a:lnTo>
                    <a:pt x="716884" y="284124"/>
                  </a:lnTo>
                  <a:close/>
                  <a:moveTo>
                    <a:pt x="730735" y="86239"/>
                  </a:moveTo>
                  <a:lnTo>
                    <a:pt x="730735" y="269354"/>
                  </a:lnTo>
                  <a:lnTo>
                    <a:pt x="913850" y="269354"/>
                  </a:lnTo>
                  <a:lnTo>
                    <a:pt x="913850" y="86239"/>
                  </a:lnTo>
                  <a:close/>
                  <a:moveTo>
                    <a:pt x="533769" y="86239"/>
                  </a:moveTo>
                  <a:lnTo>
                    <a:pt x="533769" y="269354"/>
                  </a:lnTo>
                  <a:lnTo>
                    <a:pt x="716884" y="269354"/>
                  </a:lnTo>
                  <a:lnTo>
                    <a:pt x="716884" y="86239"/>
                  </a:lnTo>
                  <a:close/>
                  <a:moveTo>
                    <a:pt x="89809" y="86239"/>
                  </a:moveTo>
                  <a:lnTo>
                    <a:pt x="89809" y="467239"/>
                  </a:lnTo>
                  <a:lnTo>
                    <a:pt x="470809" y="467239"/>
                  </a:lnTo>
                  <a:lnTo>
                    <a:pt x="470809" y="86239"/>
                  </a:lnTo>
                  <a:close/>
                  <a:moveTo>
                    <a:pt x="0" y="0"/>
                  </a:moveTo>
                  <a:lnTo>
                    <a:pt x="1004578" y="0"/>
                  </a:lnTo>
                  <a:lnTo>
                    <a:pt x="1004578" y="1004578"/>
                  </a:lnTo>
                  <a:lnTo>
                    <a:pt x="0" y="1004578"/>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13" name="TextBox 12"/>
            <p:cNvSpPr txBox="1"/>
            <p:nvPr/>
          </p:nvSpPr>
          <p:spPr>
            <a:xfrm>
              <a:off x="662551" y="7502171"/>
              <a:ext cx="606256" cy="369332"/>
            </a:xfrm>
            <a:prstGeom prst="rect">
              <a:avLst/>
            </a:prstGeom>
            <a:noFill/>
          </p:spPr>
          <p:txBody>
            <a:bodyPr wrap="none" rtlCol="0">
              <a:spAutoFit/>
            </a:bodyPr>
            <a:lstStyle/>
            <a:p>
              <a:pPr algn="ctr"/>
              <a:r>
                <a:rPr lang="en-US" dirty="0" smtClean="0">
                  <a:latin typeface="+mn-lt"/>
                </a:rPr>
                <a:t>App</a:t>
              </a:r>
              <a:endParaRPr lang="en-US" dirty="0">
                <a:latin typeface="+mn-lt"/>
              </a:endParaRPr>
            </a:p>
          </p:txBody>
        </p:sp>
      </p:grpSp>
      <p:grpSp>
        <p:nvGrpSpPr>
          <p:cNvPr id="14" name="Group 13"/>
          <p:cNvGrpSpPr/>
          <p:nvPr>
            <p:custDataLst>
              <p:custData r:id="rId3"/>
            </p:custDataLst>
          </p:nvPr>
        </p:nvGrpSpPr>
        <p:grpSpPr>
          <a:xfrm>
            <a:off x="11171237" y="5249862"/>
            <a:ext cx="1103379" cy="1373910"/>
            <a:chOff x="3723435" y="3901278"/>
            <a:chExt cx="1163607" cy="1448904"/>
          </a:xfrm>
        </p:grpSpPr>
        <p:sp>
          <p:nvSpPr>
            <p:cNvPr id="15" name="Freeform 14"/>
            <p:cNvSpPr/>
            <p:nvPr/>
          </p:nvSpPr>
          <p:spPr bwMode="auto">
            <a:xfrm>
              <a:off x="3783341" y="3901278"/>
              <a:ext cx="1043784" cy="1043784"/>
            </a:xfrm>
            <a:custGeom>
              <a:avLst/>
              <a:gdLst>
                <a:gd name="connsiteX0" fmla="*/ 1409700 w 2819400"/>
                <a:gd name="connsiteY0" fmla="*/ 952500 h 2819400"/>
                <a:gd name="connsiteX1" fmla="*/ 1866900 w 2819400"/>
                <a:gd name="connsiteY1" fmla="*/ 1409700 h 2819400"/>
                <a:gd name="connsiteX2" fmla="*/ 1409700 w 2819400"/>
                <a:gd name="connsiteY2" fmla="*/ 1866900 h 2819400"/>
                <a:gd name="connsiteX3" fmla="*/ 952500 w 2819400"/>
                <a:gd name="connsiteY3" fmla="*/ 1409700 h 2819400"/>
                <a:gd name="connsiteX4" fmla="*/ 1409700 w 2819400"/>
                <a:gd name="connsiteY4" fmla="*/ 952500 h 2819400"/>
                <a:gd name="connsiteX5" fmla="*/ 1333500 w 2819400"/>
                <a:gd name="connsiteY5" fmla="*/ 419100 h 2819400"/>
                <a:gd name="connsiteX6" fmla="*/ 1333500 w 2819400"/>
                <a:gd name="connsiteY6" fmla="*/ 588645 h 2819400"/>
                <a:gd name="connsiteX7" fmla="*/ 1237641 w 2819400"/>
                <a:gd name="connsiteY7" fmla="*/ 599554 h 2819400"/>
                <a:gd name="connsiteX8" fmla="*/ 1159408 w 2819400"/>
                <a:gd name="connsiteY8" fmla="*/ 625030 h 2819400"/>
                <a:gd name="connsiteX9" fmla="*/ 1092784 w 2819400"/>
                <a:gd name="connsiteY9" fmla="*/ 468074 h 2819400"/>
                <a:gd name="connsiteX10" fmla="*/ 952499 w 2819400"/>
                <a:gd name="connsiteY10" fmla="*/ 527622 h 2819400"/>
                <a:gd name="connsiteX11" fmla="*/ 1017714 w 2819400"/>
                <a:gd name="connsiteY11" fmla="*/ 681258 h 2819400"/>
                <a:gd name="connsiteX12" fmla="*/ 995010 w 2819400"/>
                <a:gd name="connsiteY12" fmla="*/ 692834 h 2819400"/>
                <a:gd name="connsiteX13" fmla="*/ 904432 w 2819400"/>
                <a:gd name="connsiteY13" fmla="*/ 753403 h 2819400"/>
                <a:gd name="connsiteX14" fmla="*/ 870603 w 2819400"/>
                <a:gd name="connsiteY14" fmla="*/ 783170 h 2819400"/>
                <a:gd name="connsiteX15" fmla="*/ 750055 w 2819400"/>
                <a:gd name="connsiteY15" fmla="*/ 666758 h 2819400"/>
                <a:gd name="connsiteX16" fmla="*/ 644189 w 2819400"/>
                <a:gd name="connsiteY16" fmla="*/ 776385 h 2819400"/>
                <a:gd name="connsiteX17" fmla="*/ 764315 w 2819400"/>
                <a:gd name="connsiteY17" fmla="*/ 892389 h 2819400"/>
                <a:gd name="connsiteX18" fmla="*/ 749317 w 2819400"/>
                <a:gd name="connsiteY18" fmla="*/ 909661 h 2819400"/>
                <a:gd name="connsiteX19" fmla="*/ 687550 w 2819400"/>
                <a:gd name="connsiteY19" fmla="*/ 1004175 h 2819400"/>
                <a:gd name="connsiteX20" fmla="*/ 674871 w 2819400"/>
                <a:gd name="connsiteY20" fmla="*/ 1030626 h 2819400"/>
                <a:gd name="connsiteX21" fmla="*/ 519777 w 2819400"/>
                <a:gd name="connsiteY21" fmla="*/ 967963 h 2819400"/>
                <a:gd name="connsiteX22" fmla="*/ 462687 w 2819400"/>
                <a:gd name="connsiteY22" fmla="*/ 1109266 h 2819400"/>
                <a:gd name="connsiteX23" fmla="*/ 616892 w 2819400"/>
                <a:gd name="connsiteY23" fmla="*/ 1171569 h 2819400"/>
                <a:gd name="connsiteX24" fmla="*/ 614115 w 2819400"/>
                <a:gd name="connsiteY24" fmla="*/ 1179584 h 2819400"/>
                <a:gd name="connsiteX25" fmla="*/ 590611 w 2819400"/>
                <a:gd name="connsiteY25" fmla="*/ 1286378 h 2819400"/>
                <a:gd name="connsiteX26" fmla="*/ 586601 w 2819400"/>
                <a:gd name="connsiteY26" fmla="*/ 1333500 h 2819400"/>
                <a:gd name="connsiteX27" fmla="*/ 419100 w 2819400"/>
                <a:gd name="connsiteY27" fmla="*/ 1333500 h 2819400"/>
                <a:gd name="connsiteX28" fmla="*/ 419100 w 2819400"/>
                <a:gd name="connsiteY28" fmla="*/ 1485900 h 2819400"/>
                <a:gd name="connsiteX29" fmla="*/ 585667 w 2819400"/>
                <a:gd name="connsiteY29" fmla="*/ 1485900 h 2819400"/>
                <a:gd name="connsiteX30" fmla="*/ 586271 w 2819400"/>
                <a:gd name="connsiteY30" fmla="*/ 1499335 h 2819400"/>
                <a:gd name="connsiteX31" fmla="*/ 604381 w 2819400"/>
                <a:gd name="connsiteY31" fmla="*/ 1603015 h 2819400"/>
                <a:gd name="connsiteX32" fmla="*/ 623507 w 2819400"/>
                <a:gd name="connsiteY32" fmla="*/ 1660639 h 2819400"/>
                <a:gd name="connsiteX33" fmla="*/ 468074 w 2819400"/>
                <a:gd name="connsiteY33" fmla="*/ 1726616 h 2819400"/>
                <a:gd name="connsiteX34" fmla="*/ 527622 w 2819400"/>
                <a:gd name="connsiteY34" fmla="*/ 1866901 h 2819400"/>
                <a:gd name="connsiteX35" fmla="*/ 683091 w 2819400"/>
                <a:gd name="connsiteY35" fmla="*/ 1800908 h 2819400"/>
                <a:gd name="connsiteX36" fmla="*/ 713905 w 2819400"/>
                <a:gd name="connsiteY36" fmla="*/ 1858905 h 2819400"/>
                <a:gd name="connsiteX37" fmla="*/ 776434 w 2819400"/>
                <a:gd name="connsiteY37" fmla="*/ 1943602 h 2819400"/>
                <a:gd name="connsiteX38" fmla="*/ 782287 w 2819400"/>
                <a:gd name="connsiteY38" fmla="*/ 1949711 h 2819400"/>
                <a:gd name="connsiteX39" fmla="*/ 666758 w 2819400"/>
                <a:gd name="connsiteY39" fmla="*/ 2069345 h 2819400"/>
                <a:gd name="connsiteX40" fmla="*/ 776385 w 2819400"/>
                <a:gd name="connsiteY40" fmla="*/ 2175211 h 2819400"/>
                <a:gd name="connsiteX41" fmla="*/ 892759 w 2819400"/>
                <a:gd name="connsiteY41" fmla="*/ 2054702 h 2819400"/>
                <a:gd name="connsiteX42" fmla="*/ 933621 w 2819400"/>
                <a:gd name="connsiteY42" fmla="*/ 2087532 h 2819400"/>
                <a:gd name="connsiteX43" fmla="*/ 1027223 w 2819400"/>
                <a:gd name="connsiteY43" fmla="*/ 2144281 h 2819400"/>
                <a:gd name="connsiteX44" fmla="*/ 1030176 w 2819400"/>
                <a:gd name="connsiteY44" fmla="*/ 2145640 h 2819400"/>
                <a:gd name="connsiteX45" fmla="*/ 967963 w 2819400"/>
                <a:gd name="connsiteY45" fmla="*/ 2299623 h 2819400"/>
                <a:gd name="connsiteX46" fmla="*/ 1109266 w 2819400"/>
                <a:gd name="connsiteY46" fmla="*/ 2356713 h 2819400"/>
                <a:gd name="connsiteX47" fmla="*/ 1171569 w 2819400"/>
                <a:gd name="connsiteY47" fmla="*/ 2202508 h 2819400"/>
                <a:gd name="connsiteX48" fmla="*/ 1179584 w 2819400"/>
                <a:gd name="connsiteY48" fmla="*/ 2205285 h 2819400"/>
                <a:gd name="connsiteX49" fmla="*/ 1260524 w 2819400"/>
                <a:gd name="connsiteY49" fmla="*/ 2224452 h 2819400"/>
                <a:gd name="connsiteX50" fmla="*/ 1333500 w 2819400"/>
                <a:gd name="connsiteY50" fmla="*/ 2230522 h 2819400"/>
                <a:gd name="connsiteX51" fmla="*/ 1333500 w 2819400"/>
                <a:gd name="connsiteY51" fmla="*/ 2400300 h 2819400"/>
                <a:gd name="connsiteX52" fmla="*/ 1485900 w 2819400"/>
                <a:gd name="connsiteY52" fmla="*/ 2400300 h 2819400"/>
                <a:gd name="connsiteX53" fmla="*/ 1485900 w 2819400"/>
                <a:gd name="connsiteY53" fmla="*/ 2230755 h 2819400"/>
                <a:gd name="connsiteX54" fmla="*/ 1581759 w 2819400"/>
                <a:gd name="connsiteY54" fmla="*/ 2219846 h 2819400"/>
                <a:gd name="connsiteX55" fmla="*/ 1659992 w 2819400"/>
                <a:gd name="connsiteY55" fmla="*/ 2194370 h 2819400"/>
                <a:gd name="connsiteX56" fmla="*/ 1726616 w 2819400"/>
                <a:gd name="connsiteY56" fmla="*/ 2351326 h 2819400"/>
                <a:gd name="connsiteX57" fmla="*/ 1866901 w 2819400"/>
                <a:gd name="connsiteY57" fmla="*/ 2291779 h 2819400"/>
                <a:gd name="connsiteX58" fmla="*/ 1801686 w 2819400"/>
                <a:gd name="connsiteY58" fmla="*/ 2138142 h 2819400"/>
                <a:gd name="connsiteX59" fmla="*/ 1824391 w 2819400"/>
                <a:gd name="connsiteY59" fmla="*/ 2126566 h 2819400"/>
                <a:gd name="connsiteX60" fmla="*/ 1914968 w 2819400"/>
                <a:gd name="connsiteY60" fmla="*/ 2065997 h 2819400"/>
                <a:gd name="connsiteX61" fmla="*/ 1948797 w 2819400"/>
                <a:gd name="connsiteY61" fmla="*/ 2036230 h 2819400"/>
                <a:gd name="connsiteX62" fmla="*/ 2069345 w 2819400"/>
                <a:gd name="connsiteY62" fmla="*/ 2152642 h 2819400"/>
                <a:gd name="connsiteX63" fmla="*/ 2175211 w 2819400"/>
                <a:gd name="connsiteY63" fmla="*/ 2043015 h 2819400"/>
                <a:gd name="connsiteX64" fmla="*/ 2055085 w 2819400"/>
                <a:gd name="connsiteY64" fmla="*/ 1927011 h 2819400"/>
                <a:gd name="connsiteX65" fmla="*/ 2070083 w 2819400"/>
                <a:gd name="connsiteY65" fmla="*/ 1909739 h 2819400"/>
                <a:gd name="connsiteX66" fmla="*/ 2131851 w 2819400"/>
                <a:gd name="connsiteY66" fmla="*/ 1815225 h 2819400"/>
                <a:gd name="connsiteX67" fmla="*/ 2144529 w 2819400"/>
                <a:gd name="connsiteY67" fmla="*/ 1788775 h 2819400"/>
                <a:gd name="connsiteX68" fmla="*/ 2299623 w 2819400"/>
                <a:gd name="connsiteY68" fmla="*/ 1851437 h 2819400"/>
                <a:gd name="connsiteX69" fmla="*/ 2356713 w 2819400"/>
                <a:gd name="connsiteY69" fmla="*/ 1710134 h 2819400"/>
                <a:gd name="connsiteX70" fmla="*/ 2202508 w 2819400"/>
                <a:gd name="connsiteY70" fmla="*/ 1647831 h 2819400"/>
                <a:gd name="connsiteX71" fmla="*/ 2205285 w 2819400"/>
                <a:gd name="connsiteY71" fmla="*/ 1639816 h 2819400"/>
                <a:gd name="connsiteX72" fmla="*/ 2228789 w 2819400"/>
                <a:gd name="connsiteY72" fmla="*/ 1533022 h 2819400"/>
                <a:gd name="connsiteX73" fmla="*/ 2232799 w 2819400"/>
                <a:gd name="connsiteY73" fmla="*/ 1485900 h 2819400"/>
                <a:gd name="connsiteX74" fmla="*/ 2400300 w 2819400"/>
                <a:gd name="connsiteY74" fmla="*/ 1485900 h 2819400"/>
                <a:gd name="connsiteX75" fmla="*/ 2400300 w 2819400"/>
                <a:gd name="connsiteY75" fmla="*/ 1333500 h 2819400"/>
                <a:gd name="connsiteX76" fmla="*/ 2233733 w 2819400"/>
                <a:gd name="connsiteY76" fmla="*/ 1333500 h 2819400"/>
                <a:gd name="connsiteX77" fmla="*/ 2233129 w 2819400"/>
                <a:gd name="connsiteY77" fmla="*/ 1320065 h 2819400"/>
                <a:gd name="connsiteX78" fmla="*/ 2215019 w 2819400"/>
                <a:gd name="connsiteY78" fmla="*/ 1216385 h 2819400"/>
                <a:gd name="connsiteX79" fmla="*/ 2195893 w 2819400"/>
                <a:gd name="connsiteY79" fmla="*/ 1158761 h 2819400"/>
                <a:gd name="connsiteX80" fmla="*/ 2351326 w 2819400"/>
                <a:gd name="connsiteY80" fmla="*/ 1092784 h 2819400"/>
                <a:gd name="connsiteX81" fmla="*/ 2291778 w 2819400"/>
                <a:gd name="connsiteY81" fmla="*/ 952499 h 2819400"/>
                <a:gd name="connsiteX82" fmla="*/ 2136309 w 2819400"/>
                <a:gd name="connsiteY82" fmla="*/ 1018492 h 2819400"/>
                <a:gd name="connsiteX83" fmla="*/ 2105495 w 2819400"/>
                <a:gd name="connsiteY83" fmla="*/ 960495 h 2819400"/>
                <a:gd name="connsiteX84" fmla="*/ 2042966 w 2819400"/>
                <a:gd name="connsiteY84" fmla="*/ 875798 h 2819400"/>
                <a:gd name="connsiteX85" fmla="*/ 2037113 w 2819400"/>
                <a:gd name="connsiteY85" fmla="*/ 869689 h 2819400"/>
                <a:gd name="connsiteX86" fmla="*/ 2152642 w 2819400"/>
                <a:gd name="connsiteY86" fmla="*/ 750055 h 2819400"/>
                <a:gd name="connsiteX87" fmla="*/ 2043015 w 2819400"/>
                <a:gd name="connsiteY87" fmla="*/ 644189 h 2819400"/>
                <a:gd name="connsiteX88" fmla="*/ 1926641 w 2819400"/>
                <a:gd name="connsiteY88" fmla="*/ 764698 h 2819400"/>
                <a:gd name="connsiteX89" fmla="*/ 1885779 w 2819400"/>
                <a:gd name="connsiteY89" fmla="*/ 731868 h 2819400"/>
                <a:gd name="connsiteX90" fmla="*/ 1792177 w 2819400"/>
                <a:gd name="connsiteY90" fmla="*/ 675118 h 2819400"/>
                <a:gd name="connsiteX91" fmla="*/ 1789224 w 2819400"/>
                <a:gd name="connsiteY91" fmla="*/ 673760 h 2819400"/>
                <a:gd name="connsiteX92" fmla="*/ 1851437 w 2819400"/>
                <a:gd name="connsiteY92" fmla="*/ 519777 h 2819400"/>
                <a:gd name="connsiteX93" fmla="*/ 1710134 w 2819400"/>
                <a:gd name="connsiteY93" fmla="*/ 462687 h 2819400"/>
                <a:gd name="connsiteX94" fmla="*/ 1647831 w 2819400"/>
                <a:gd name="connsiteY94" fmla="*/ 616892 h 2819400"/>
                <a:gd name="connsiteX95" fmla="*/ 1639816 w 2819400"/>
                <a:gd name="connsiteY95" fmla="*/ 614115 h 2819400"/>
                <a:gd name="connsiteX96" fmla="*/ 1558876 w 2819400"/>
                <a:gd name="connsiteY96" fmla="*/ 594948 h 2819400"/>
                <a:gd name="connsiteX97" fmla="*/ 1485900 w 2819400"/>
                <a:gd name="connsiteY97" fmla="*/ 588878 h 2819400"/>
                <a:gd name="connsiteX98" fmla="*/ 1485900 w 2819400"/>
                <a:gd name="connsiteY98" fmla="*/ 419100 h 2819400"/>
                <a:gd name="connsiteX99" fmla="*/ 0 w 2819400"/>
                <a:gd name="connsiteY99" fmla="*/ 0 h 2819400"/>
                <a:gd name="connsiteX100" fmla="*/ 2819400 w 2819400"/>
                <a:gd name="connsiteY100" fmla="*/ 0 h 2819400"/>
                <a:gd name="connsiteX101" fmla="*/ 2819400 w 2819400"/>
                <a:gd name="connsiteY101" fmla="*/ 2819400 h 2819400"/>
                <a:gd name="connsiteX102" fmla="*/ 0 w 2819400"/>
                <a:gd name="connsiteY102" fmla="*/ 2819400 h 28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819400" h="2819400">
                  <a:moveTo>
                    <a:pt x="1409700" y="952500"/>
                  </a:moveTo>
                  <a:cubicBezTo>
                    <a:pt x="1662205" y="952500"/>
                    <a:pt x="1866900" y="1157195"/>
                    <a:pt x="1866900" y="1409700"/>
                  </a:cubicBezTo>
                  <a:cubicBezTo>
                    <a:pt x="1866900" y="1662205"/>
                    <a:pt x="1662205" y="1866900"/>
                    <a:pt x="1409700" y="1866900"/>
                  </a:cubicBezTo>
                  <a:cubicBezTo>
                    <a:pt x="1157195" y="1866900"/>
                    <a:pt x="952500" y="1662205"/>
                    <a:pt x="952500" y="1409700"/>
                  </a:cubicBezTo>
                  <a:cubicBezTo>
                    <a:pt x="952500" y="1157195"/>
                    <a:pt x="1157195" y="952500"/>
                    <a:pt x="1409700" y="952500"/>
                  </a:cubicBezTo>
                  <a:close/>
                  <a:moveTo>
                    <a:pt x="1333500" y="419100"/>
                  </a:moveTo>
                  <a:lnTo>
                    <a:pt x="1333500" y="588645"/>
                  </a:lnTo>
                  <a:lnTo>
                    <a:pt x="1237641" y="599554"/>
                  </a:lnTo>
                  <a:lnTo>
                    <a:pt x="1159408" y="625030"/>
                  </a:lnTo>
                  <a:lnTo>
                    <a:pt x="1092784" y="468074"/>
                  </a:lnTo>
                  <a:lnTo>
                    <a:pt x="952499" y="527622"/>
                  </a:lnTo>
                  <a:lnTo>
                    <a:pt x="1017714" y="681258"/>
                  </a:lnTo>
                  <a:lnTo>
                    <a:pt x="995010" y="692834"/>
                  </a:lnTo>
                  <a:cubicBezTo>
                    <a:pt x="963601" y="710974"/>
                    <a:pt x="933332" y="731197"/>
                    <a:pt x="904432" y="753403"/>
                  </a:cubicBezTo>
                  <a:lnTo>
                    <a:pt x="870603" y="783170"/>
                  </a:lnTo>
                  <a:lnTo>
                    <a:pt x="750055" y="666758"/>
                  </a:lnTo>
                  <a:lnTo>
                    <a:pt x="644189" y="776385"/>
                  </a:lnTo>
                  <a:lnTo>
                    <a:pt x="764315" y="892389"/>
                  </a:lnTo>
                  <a:lnTo>
                    <a:pt x="749317" y="909661"/>
                  </a:lnTo>
                  <a:cubicBezTo>
                    <a:pt x="726820" y="939410"/>
                    <a:pt x="706153" y="970948"/>
                    <a:pt x="687550" y="1004175"/>
                  </a:cubicBezTo>
                  <a:lnTo>
                    <a:pt x="674871" y="1030626"/>
                  </a:lnTo>
                  <a:lnTo>
                    <a:pt x="519777" y="967963"/>
                  </a:lnTo>
                  <a:lnTo>
                    <a:pt x="462687" y="1109266"/>
                  </a:lnTo>
                  <a:lnTo>
                    <a:pt x="616892" y="1171569"/>
                  </a:lnTo>
                  <a:lnTo>
                    <a:pt x="614115" y="1179584"/>
                  </a:lnTo>
                  <a:cubicBezTo>
                    <a:pt x="603822" y="1215010"/>
                    <a:pt x="596017" y="1250677"/>
                    <a:pt x="590611" y="1286378"/>
                  </a:cubicBezTo>
                  <a:lnTo>
                    <a:pt x="586601" y="1333500"/>
                  </a:lnTo>
                  <a:lnTo>
                    <a:pt x="419100" y="1333500"/>
                  </a:lnTo>
                  <a:lnTo>
                    <a:pt x="419100" y="1485900"/>
                  </a:lnTo>
                  <a:lnTo>
                    <a:pt x="585667" y="1485900"/>
                  </a:lnTo>
                  <a:lnTo>
                    <a:pt x="586271" y="1499335"/>
                  </a:lnTo>
                  <a:cubicBezTo>
                    <a:pt x="590113" y="1534344"/>
                    <a:pt x="596179" y="1568973"/>
                    <a:pt x="604381" y="1603015"/>
                  </a:cubicBezTo>
                  <a:lnTo>
                    <a:pt x="623507" y="1660639"/>
                  </a:lnTo>
                  <a:lnTo>
                    <a:pt x="468074" y="1726616"/>
                  </a:lnTo>
                  <a:lnTo>
                    <a:pt x="527622" y="1866901"/>
                  </a:lnTo>
                  <a:lnTo>
                    <a:pt x="683091" y="1800908"/>
                  </a:lnTo>
                  <a:lnTo>
                    <a:pt x="713905" y="1858905"/>
                  </a:lnTo>
                  <a:cubicBezTo>
                    <a:pt x="732875" y="1888345"/>
                    <a:pt x="753748" y="1916647"/>
                    <a:pt x="776434" y="1943602"/>
                  </a:cubicBezTo>
                  <a:lnTo>
                    <a:pt x="782287" y="1949711"/>
                  </a:lnTo>
                  <a:lnTo>
                    <a:pt x="666758" y="2069345"/>
                  </a:lnTo>
                  <a:lnTo>
                    <a:pt x="776385" y="2175211"/>
                  </a:lnTo>
                  <a:lnTo>
                    <a:pt x="892759" y="2054702"/>
                  </a:lnTo>
                  <a:lnTo>
                    <a:pt x="933621" y="2087532"/>
                  </a:lnTo>
                  <a:cubicBezTo>
                    <a:pt x="963213" y="2108277"/>
                    <a:pt x="994443" y="2127263"/>
                    <a:pt x="1027223" y="2144281"/>
                  </a:cubicBezTo>
                  <a:lnTo>
                    <a:pt x="1030176" y="2145640"/>
                  </a:lnTo>
                  <a:lnTo>
                    <a:pt x="967963" y="2299623"/>
                  </a:lnTo>
                  <a:lnTo>
                    <a:pt x="1109266" y="2356713"/>
                  </a:lnTo>
                  <a:lnTo>
                    <a:pt x="1171569" y="2202508"/>
                  </a:lnTo>
                  <a:lnTo>
                    <a:pt x="1179584" y="2205285"/>
                  </a:lnTo>
                  <a:cubicBezTo>
                    <a:pt x="1206456" y="2213093"/>
                    <a:pt x="1233465" y="2219469"/>
                    <a:pt x="1260524" y="2224452"/>
                  </a:cubicBezTo>
                  <a:lnTo>
                    <a:pt x="1333500" y="2230522"/>
                  </a:lnTo>
                  <a:lnTo>
                    <a:pt x="1333500" y="2400300"/>
                  </a:lnTo>
                  <a:lnTo>
                    <a:pt x="1485900" y="2400300"/>
                  </a:lnTo>
                  <a:lnTo>
                    <a:pt x="1485900" y="2230755"/>
                  </a:lnTo>
                  <a:lnTo>
                    <a:pt x="1581759" y="2219846"/>
                  </a:lnTo>
                  <a:lnTo>
                    <a:pt x="1659992" y="2194370"/>
                  </a:lnTo>
                  <a:lnTo>
                    <a:pt x="1726616" y="2351326"/>
                  </a:lnTo>
                  <a:lnTo>
                    <a:pt x="1866901" y="2291779"/>
                  </a:lnTo>
                  <a:lnTo>
                    <a:pt x="1801686" y="2138142"/>
                  </a:lnTo>
                  <a:lnTo>
                    <a:pt x="1824391" y="2126566"/>
                  </a:lnTo>
                  <a:cubicBezTo>
                    <a:pt x="1855799" y="2108425"/>
                    <a:pt x="1886069" y="2088203"/>
                    <a:pt x="1914968" y="2065997"/>
                  </a:cubicBezTo>
                  <a:lnTo>
                    <a:pt x="1948797" y="2036230"/>
                  </a:lnTo>
                  <a:lnTo>
                    <a:pt x="2069345" y="2152642"/>
                  </a:lnTo>
                  <a:lnTo>
                    <a:pt x="2175211" y="2043015"/>
                  </a:lnTo>
                  <a:lnTo>
                    <a:pt x="2055085" y="1927011"/>
                  </a:lnTo>
                  <a:lnTo>
                    <a:pt x="2070083" y="1909739"/>
                  </a:lnTo>
                  <a:cubicBezTo>
                    <a:pt x="2092580" y="1879990"/>
                    <a:pt x="2113247" y="1848452"/>
                    <a:pt x="2131851" y="1815225"/>
                  </a:cubicBezTo>
                  <a:lnTo>
                    <a:pt x="2144529" y="1788775"/>
                  </a:lnTo>
                  <a:lnTo>
                    <a:pt x="2299623" y="1851437"/>
                  </a:lnTo>
                  <a:lnTo>
                    <a:pt x="2356713" y="1710134"/>
                  </a:lnTo>
                  <a:lnTo>
                    <a:pt x="2202508" y="1647831"/>
                  </a:lnTo>
                  <a:lnTo>
                    <a:pt x="2205285" y="1639816"/>
                  </a:lnTo>
                  <a:cubicBezTo>
                    <a:pt x="2215578" y="1604389"/>
                    <a:pt x="2223384" y="1568723"/>
                    <a:pt x="2228789" y="1533022"/>
                  </a:cubicBezTo>
                  <a:lnTo>
                    <a:pt x="2232799" y="1485900"/>
                  </a:lnTo>
                  <a:lnTo>
                    <a:pt x="2400300" y="1485900"/>
                  </a:lnTo>
                  <a:lnTo>
                    <a:pt x="2400300" y="1333500"/>
                  </a:lnTo>
                  <a:lnTo>
                    <a:pt x="2233733" y="1333500"/>
                  </a:lnTo>
                  <a:lnTo>
                    <a:pt x="2233129" y="1320065"/>
                  </a:lnTo>
                  <a:cubicBezTo>
                    <a:pt x="2229287" y="1285056"/>
                    <a:pt x="2223221" y="1250427"/>
                    <a:pt x="2215019" y="1216385"/>
                  </a:cubicBezTo>
                  <a:lnTo>
                    <a:pt x="2195893" y="1158761"/>
                  </a:lnTo>
                  <a:lnTo>
                    <a:pt x="2351326" y="1092784"/>
                  </a:lnTo>
                  <a:lnTo>
                    <a:pt x="2291778" y="952499"/>
                  </a:lnTo>
                  <a:lnTo>
                    <a:pt x="2136309" y="1018492"/>
                  </a:lnTo>
                  <a:lnTo>
                    <a:pt x="2105495" y="960495"/>
                  </a:lnTo>
                  <a:cubicBezTo>
                    <a:pt x="2086525" y="931054"/>
                    <a:pt x="2065652" y="902753"/>
                    <a:pt x="2042966" y="875798"/>
                  </a:cubicBezTo>
                  <a:lnTo>
                    <a:pt x="2037113" y="869689"/>
                  </a:lnTo>
                  <a:lnTo>
                    <a:pt x="2152642" y="750055"/>
                  </a:lnTo>
                  <a:lnTo>
                    <a:pt x="2043015" y="644189"/>
                  </a:lnTo>
                  <a:lnTo>
                    <a:pt x="1926641" y="764698"/>
                  </a:lnTo>
                  <a:lnTo>
                    <a:pt x="1885779" y="731868"/>
                  </a:lnTo>
                  <a:cubicBezTo>
                    <a:pt x="1856188" y="711122"/>
                    <a:pt x="1824957" y="692137"/>
                    <a:pt x="1792177" y="675118"/>
                  </a:cubicBezTo>
                  <a:lnTo>
                    <a:pt x="1789224" y="673760"/>
                  </a:lnTo>
                  <a:lnTo>
                    <a:pt x="1851437" y="519777"/>
                  </a:lnTo>
                  <a:lnTo>
                    <a:pt x="1710134" y="462687"/>
                  </a:lnTo>
                  <a:lnTo>
                    <a:pt x="1647831" y="616892"/>
                  </a:lnTo>
                  <a:lnTo>
                    <a:pt x="1639816" y="614115"/>
                  </a:lnTo>
                  <a:cubicBezTo>
                    <a:pt x="1612945" y="606307"/>
                    <a:pt x="1585935" y="599931"/>
                    <a:pt x="1558876" y="594948"/>
                  </a:cubicBezTo>
                  <a:lnTo>
                    <a:pt x="1485900" y="588878"/>
                  </a:lnTo>
                  <a:lnTo>
                    <a:pt x="1485900" y="419100"/>
                  </a:lnTo>
                  <a:close/>
                  <a:moveTo>
                    <a:pt x="0" y="0"/>
                  </a:moveTo>
                  <a:lnTo>
                    <a:pt x="2819400" y="0"/>
                  </a:lnTo>
                  <a:lnTo>
                    <a:pt x="2819400" y="2819400"/>
                  </a:lnTo>
                  <a:lnTo>
                    <a:pt x="0" y="28194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ctr" anchorCtr="0"/>
            <a:lstStyle/>
            <a:p>
              <a:pPr algn="ctr" defTabSz="685598"/>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3723435" y="4960690"/>
              <a:ext cx="1163607" cy="389492"/>
            </a:xfrm>
            <a:prstGeom prst="rect">
              <a:avLst/>
            </a:prstGeom>
            <a:noFill/>
          </p:spPr>
          <p:txBody>
            <a:bodyPr wrap="none" rtlCol="0">
              <a:spAutoFit/>
            </a:bodyPr>
            <a:lstStyle/>
            <a:p>
              <a:pPr algn="ctr"/>
              <a:r>
                <a:rPr lang="en-US" dirty="0" smtClean="0">
                  <a:latin typeface="+mn-lt"/>
                </a:rPr>
                <a:t>Resource</a:t>
              </a:r>
              <a:endParaRPr lang="en-US" dirty="0">
                <a:latin typeface="+mn-lt"/>
              </a:endParaRPr>
            </a:p>
          </p:txBody>
        </p:sp>
      </p:grpSp>
      <p:grpSp>
        <p:nvGrpSpPr>
          <p:cNvPr id="17" name="Group 16"/>
          <p:cNvGrpSpPr/>
          <p:nvPr>
            <p:custDataLst>
              <p:custData r:id="rId4"/>
            </p:custDataLst>
          </p:nvPr>
        </p:nvGrpSpPr>
        <p:grpSpPr>
          <a:xfrm>
            <a:off x="6599237" y="2669398"/>
            <a:ext cx="449185" cy="561164"/>
            <a:chOff x="463390" y="6616489"/>
            <a:chExt cx="1004578" cy="1255014"/>
          </a:xfrm>
        </p:grpSpPr>
        <p:sp>
          <p:nvSpPr>
            <p:cNvPr id="19" name="Freeform 18"/>
            <p:cNvSpPr/>
            <p:nvPr/>
          </p:nvSpPr>
          <p:spPr bwMode="auto">
            <a:xfrm>
              <a:off x="463390" y="6616489"/>
              <a:ext cx="1004578" cy="1004578"/>
            </a:xfrm>
            <a:custGeom>
              <a:avLst/>
              <a:gdLst>
                <a:gd name="connsiteX0" fmla="*/ 533769 w 1004578"/>
                <a:gd name="connsiteY0" fmla="*/ 537339 h 1004578"/>
                <a:gd name="connsiteX1" fmla="*/ 533769 w 1004578"/>
                <a:gd name="connsiteY1" fmla="*/ 918339 h 1004578"/>
                <a:gd name="connsiteX2" fmla="*/ 914769 w 1004578"/>
                <a:gd name="connsiteY2" fmla="*/ 918339 h 1004578"/>
                <a:gd name="connsiteX3" fmla="*/ 914769 w 1004578"/>
                <a:gd name="connsiteY3" fmla="*/ 537339 h 1004578"/>
                <a:gd name="connsiteX4" fmla="*/ 89809 w 1004578"/>
                <a:gd name="connsiteY4" fmla="*/ 537339 h 1004578"/>
                <a:gd name="connsiteX5" fmla="*/ 89809 w 1004578"/>
                <a:gd name="connsiteY5" fmla="*/ 918339 h 1004578"/>
                <a:gd name="connsiteX6" fmla="*/ 470809 w 1004578"/>
                <a:gd name="connsiteY6" fmla="*/ 918339 h 1004578"/>
                <a:gd name="connsiteX7" fmla="*/ 470809 w 1004578"/>
                <a:gd name="connsiteY7" fmla="*/ 537339 h 1004578"/>
                <a:gd name="connsiteX8" fmla="*/ 731654 w 1004578"/>
                <a:gd name="connsiteY8" fmla="*/ 284124 h 1004578"/>
                <a:gd name="connsiteX9" fmla="*/ 731654 w 1004578"/>
                <a:gd name="connsiteY9" fmla="*/ 467239 h 1004578"/>
                <a:gd name="connsiteX10" fmla="*/ 914769 w 1004578"/>
                <a:gd name="connsiteY10" fmla="*/ 467239 h 1004578"/>
                <a:gd name="connsiteX11" fmla="*/ 914769 w 1004578"/>
                <a:gd name="connsiteY11" fmla="*/ 284124 h 1004578"/>
                <a:gd name="connsiteX12" fmla="*/ 533769 w 1004578"/>
                <a:gd name="connsiteY12" fmla="*/ 284124 h 1004578"/>
                <a:gd name="connsiteX13" fmla="*/ 533769 w 1004578"/>
                <a:gd name="connsiteY13" fmla="*/ 467239 h 1004578"/>
                <a:gd name="connsiteX14" fmla="*/ 716884 w 1004578"/>
                <a:gd name="connsiteY14" fmla="*/ 467239 h 1004578"/>
                <a:gd name="connsiteX15" fmla="*/ 716884 w 1004578"/>
                <a:gd name="connsiteY15" fmla="*/ 284124 h 1004578"/>
                <a:gd name="connsiteX16" fmla="*/ 730735 w 1004578"/>
                <a:gd name="connsiteY16" fmla="*/ 86239 h 1004578"/>
                <a:gd name="connsiteX17" fmla="*/ 730735 w 1004578"/>
                <a:gd name="connsiteY17" fmla="*/ 269354 h 1004578"/>
                <a:gd name="connsiteX18" fmla="*/ 913850 w 1004578"/>
                <a:gd name="connsiteY18" fmla="*/ 269354 h 1004578"/>
                <a:gd name="connsiteX19" fmla="*/ 913850 w 1004578"/>
                <a:gd name="connsiteY19" fmla="*/ 86239 h 1004578"/>
                <a:gd name="connsiteX20" fmla="*/ 533769 w 1004578"/>
                <a:gd name="connsiteY20" fmla="*/ 86239 h 1004578"/>
                <a:gd name="connsiteX21" fmla="*/ 533769 w 1004578"/>
                <a:gd name="connsiteY21" fmla="*/ 269354 h 1004578"/>
                <a:gd name="connsiteX22" fmla="*/ 716884 w 1004578"/>
                <a:gd name="connsiteY22" fmla="*/ 269354 h 1004578"/>
                <a:gd name="connsiteX23" fmla="*/ 716884 w 1004578"/>
                <a:gd name="connsiteY23" fmla="*/ 86239 h 1004578"/>
                <a:gd name="connsiteX24" fmla="*/ 89809 w 1004578"/>
                <a:gd name="connsiteY24" fmla="*/ 86239 h 1004578"/>
                <a:gd name="connsiteX25" fmla="*/ 89809 w 1004578"/>
                <a:gd name="connsiteY25" fmla="*/ 467239 h 1004578"/>
                <a:gd name="connsiteX26" fmla="*/ 470809 w 1004578"/>
                <a:gd name="connsiteY26" fmla="*/ 467239 h 1004578"/>
                <a:gd name="connsiteX27" fmla="*/ 470809 w 1004578"/>
                <a:gd name="connsiteY27" fmla="*/ 86239 h 1004578"/>
                <a:gd name="connsiteX28" fmla="*/ 0 w 1004578"/>
                <a:gd name="connsiteY28" fmla="*/ 0 h 1004578"/>
                <a:gd name="connsiteX29" fmla="*/ 1004578 w 1004578"/>
                <a:gd name="connsiteY29" fmla="*/ 0 h 1004578"/>
                <a:gd name="connsiteX30" fmla="*/ 1004578 w 1004578"/>
                <a:gd name="connsiteY30" fmla="*/ 1004578 h 1004578"/>
                <a:gd name="connsiteX31" fmla="*/ 0 w 1004578"/>
                <a:gd name="connsiteY31" fmla="*/ 1004578 h 100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4578" h="1004578">
                  <a:moveTo>
                    <a:pt x="533769" y="537339"/>
                  </a:moveTo>
                  <a:lnTo>
                    <a:pt x="533769" y="918339"/>
                  </a:lnTo>
                  <a:lnTo>
                    <a:pt x="914769" y="918339"/>
                  </a:lnTo>
                  <a:lnTo>
                    <a:pt x="914769" y="537339"/>
                  </a:lnTo>
                  <a:close/>
                  <a:moveTo>
                    <a:pt x="89809" y="537339"/>
                  </a:moveTo>
                  <a:lnTo>
                    <a:pt x="89809" y="918339"/>
                  </a:lnTo>
                  <a:lnTo>
                    <a:pt x="470809" y="918339"/>
                  </a:lnTo>
                  <a:lnTo>
                    <a:pt x="470809" y="537339"/>
                  </a:lnTo>
                  <a:close/>
                  <a:moveTo>
                    <a:pt x="731654" y="284124"/>
                  </a:moveTo>
                  <a:lnTo>
                    <a:pt x="731654" y="467239"/>
                  </a:lnTo>
                  <a:lnTo>
                    <a:pt x="914769" y="467239"/>
                  </a:lnTo>
                  <a:lnTo>
                    <a:pt x="914769" y="284124"/>
                  </a:lnTo>
                  <a:close/>
                  <a:moveTo>
                    <a:pt x="533769" y="284124"/>
                  </a:moveTo>
                  <a:lnTo>
                    <a:pt x="533769" y="467239"/>
                  </a:lnTo>
                  <a:lnTo>
                    <a:pt x="716884" y="467239"/>
                  </a:lnTo>
                  <a:lnTo>
                    <a:pt x="716884" y="284124"/>
                  </a:lnTo>
                  <a:close/>
                  <a:moveTo>
                    <a:pt x="730735" y="86239"/>
                  </a:moveTo>
                  <a:lnTo>
                    <a:pt x="730735" y="269354"/>
                  </a:lnTo>
                  <a:lnTo>
                    <a:pt x="913850" y="269354"/>
                  </a:lnTo>
                  <a:lnTo>
                    <a:pt x="913850" y="86239"/>
                  </a:lnTo>
                  <a:close/>
                  <a:moveTo>
                    <a:pt x="533769" y="86239"/>
                  </a:moveTo>
                  <a:lnTo>
                    <a:pt x="533769" y="269354"/>
                  </a:lnTo>
                  <a:lnTo>
                    <a:pt x="716884" y="269354"/>
                  </a:lnTo>
                  <a:lnTo>
                    <a:pt x="716884" y="86239"/>
                  </a:lnTo>
                  <a:close/>
                  <a:moveTo>
                    <a:pt x="89809" y="86239"/>
                  </a:moveTo>
                  <a:lnTo>
                    <a:pt x="89809" y="467239"/>
                  </a:lnTo>
                  <a:lnTo>
                    <a:pt x="470809" y="467239"/>
                  </a:lnTo>
                  <a:lnTo>
                    <a:pt x="470809" y="86239"/>
                  </a:lnTo>
                  <a:close/>
                  <a:moveTo>
                    <a:pt x="0" y="0"/>
                  </a:moveTo>
                  <a:lnTo>
                    <a:pt x="1004578" y="0"/>
                  </a:lnTo>
                  <a:lnTo>
                    <a:pt x="1004578" y="1004578"/>
                  </a:lnTo>
                  <a:lnTo>
                    <a:pt x="0" y="1004578"/>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ndParaRPr>
            </a:p>
          </p:txBody>
        </p:sp>
        <p:sp>
          <p:nvSpPr>
            <p:cNvPr id="20" name="TextBox 19"/>
            <p:cNvSpPr txBox="1"/>
            <p:nvPr/>
          </p:nvSpPr>
          <p:spPr>
            <a:xfrm>
              <a:off x="662551" y="7502171"/>
              <a:ext cx="606256" cy="369332"/>
            </a:xfrm>
            <a:prstGeom prst="rect">
              <a:avLst/>
            </a:prstGeom>
            <a:noFill/>
          </p:spPr>
          <p:txBody>
            <a:bodyPr wrap="none" rtlCol="0">
              <a:spAutoFit/>
            </a:bodyPr>
            <a:lstStyle/>
            <a:p>
              <a:pPr algn="ctr"/>
              <a:r>
                <a:rPr lang="en-US" dirty="0" smtClean="0">
                  <a:latin typeface="+mn-lt"/>
                </a:rPr>
                <a:t>App</a:t>
              </a:r>
              <a:endParaRPr lang="en-US" dirty="0">
                <a:latin typeface="+mn-lt"/>
              </a:endParaRPr>
            </a:p>
          </p:txBody>
        </p:sp>
      </p:grpSp>
      <p:grpSp>
        <p:nvGrpSpPr>
          <p:cNvPr id="21" name="Group 20"/>
          <p:cNvGrpSpPr/>
          <p:nvPr>
            <p:custDataLst>
              <p:custData r:id="rId5"/>
            </p:custDataLst>
          </p:nvPr>
        </p:nvGrpSpPr>
        <p:grpSpPr>
          <a:xfrm>
            <a:off x="9494837" y="2720759"/>
            <a:ext cx="493363" cy="614327"/>
            <a:chOff x="3723435" y="3901278"/>
            <a:chExt cx="1163607" cy="1448904"/>
          </a:xfrm>
        </p:grpSpPr>
        <p:sp>
          <p:nvSpPr>
            <p:cNvPr id="22" name="Freeform 21"/>
            <p:cNvSpPr/>
            <p:nvPr/>
          </p:nvSpPr>
          <p:spPr bwMode="auto">
            <a:xfrm>
              <a:off x="3783341" y="3901278"/>
              <a:ext cx="1043784" cy="1043784"/>
            </a:xfrm>
            <a:custGeom>
              <a:avLst/>
              <a:gdLst>
                <a:gd name="connsiteX0" fmla="*/ 1409700 w 2819400"/>
                <a:gd name="connsiteY0" fmla="*/ 952500 h 2819400"/>
                <a:gd name="connsiteX1" fmla="*/ 1866900 w 2819400"/>
                <a:gd name="connsiteY1" fmla="*/ 1409700 h 2819400"/>
                <a:gd name="connsiteX2" fmla="*/ 1409700 w 2819400"/>
                <a:gd name="connsiteY2" fmla="*/ 1866900 h 2819400"/>
                <a:gd name="connsiteX3" fmla="*/ 952500 w 2819400"/>
                <a:gd name="connsiteY3" fmla="*/ 1409700 h 2819400"/>
                <a:gd name="connsiteX4" fmla="*/ 1409700 w 2819400"/>
                <a:gd name="connsiteY4" fmla="*/ 952500 h 2819400"/>
                <a:gd name="connsiteX5" fmla="*/ 1333500 w 2819400"/>
                <a:gd name="connsiteY5" fmla="*/ 419100 h 2819400"/>
                <a:gd name="connsiteX6" fmla="*/ 1333500 w 2819400"/>
                <a:gd name="connsiteY6" fmla="*/ 588645 h 2819400"/>
                <a:gd name="connsiteX7" fmla="*/ 1237641 w 2819400"/>
                <a:gd name="connsiteY7" fmla="*/ 599554 h 2819400"/>
                <a:gd name="connsiteX8" fmla="*/ 1159408 w 2819400"/>
                <a:gd name="connsiteY8" fmla="*/ 625030 h 2819400"/>
                <a:gd name="connsiteX9" fmla="*/ 1092784 w 2819400"/>
                <a:gd name="connsiteY9" fmla="*/ 468074 h 2819400"/>
                <a:gd name="connsiteX10" fmla="*/ 952499 w 2819400"/>
                <a:gd name="connsiteY10" fmla="*/ 527622 h 2819400"/>
                <a:gd name="connsiteX11" fmla="*/ 1017714 w 2819400"/>
                <a:gd name="connsiteY11" fmla="*/ 681258 h 2819400"/>
                <a:gd name="connsiteX12" fmla="*/ 995010 w 2819400"/>
                <a:gd name="connsiteY12" fmla="*/ 692834 h 2819400"/>
                <a:gd name="connsiteX13" fmla="*/ 904432 w 2819400"/>
                <a:gd name="connsiteY13" fmla="*/ 753403 h 2819400"/>
                <a:gd name="connsiteX14" fmla="*/ 870603 w 2819400"/>
                <a:gd name="connsiteY14" fmla="*/ 783170 h 2819400"/>
                <a:gd name="connsiteX15" fmla="*/ 750055 w 2819400"/>
                <a:gd name="connsiteY15" fmla="*/ 666758 h 2819400"/>
                <a:gd name="connsiteX16" fmla="*/ 644189 w 2819400"/>
                <a:gd name="connsiteY16" fmla="*/ 776385 h 2819400"/>
                <a:gd name="connsiteX17" fmla="*/ 764315 w 2819400"/>
                <a:gd name="connsiteY17" fmla="*/ 892389 h 2819400"/>
                <a:gd name="connsiteX18" fmla="*/ 749317 w 2819400"/>
                <a:gd name="connsiteY18" fmla="*/ 909661 h 2819400"/>
                <a:gd name="connsiteX19" fmla="*/ 687550 w 2819400"/>
                <a:gd name="connsiteY19" fmla="*/ 1004175 h 2819400"/>
                <a:gd name="connsiteX20" fmla="*/ 674871 w 2819400"/>
                <a:gd name="connsiteY20" fmla="*/ 1030626 h 2819400"/>
                <a:gd name="connsiteX21" fmla="*/ 519777 w 2819400"/>
                <a:gd name="connsiteY21" fmla="*/ 967963 h 2819400"/>
                <a:gd name="connsiteX22" fmla="*/ 462687 w 2819400"/>
                <a:gd name="connsiteY22" fmla="*/ 1109266 h 2819400"/>
                <a:gd name="connsiteX23" fmla="*/ 616892 w 2819400"/>
                <a:gd name="connsiteY23" fmla="*/ 1171569 h 2819400"/>
                <a:gd name="connsiteX24" fmla="*/ 614115 w 2819400"/>
                <a:gd name="connsiteY24" fmla="*/ 1179584 h 2819400"/>
                <a:gd name="connsiteX25" fmla="*/ 590611 w 2819400"/>
                <a:gd name="connsiteY25" fmla="*/ 1286378 h 2819400"/>
                <a:gd name="connsiteX26" fmla="*/ 586601 w 2819400"/>
                <a:gd name="connsiteY26" fmla="*/ 1333500 h 2819400"/>
                <a:gd name="connsiteX27" fmla="*/ 419100 w 2819400"/>
                <a:gd name="connsiteY27" fmla="*/ 1333500 h 2819400"/>
                <a:gd name="connsiteX28" fmla="*/ 419100 w 2819400"/>
                <a:gd name="connsiteY28" fmla="*/ 1485900 h 2819400"/>
                <a:gd name="connsiteX29" fmla="*/ 585667 w 2819400"/>
                <a:gd name="connsiteY29" fmla="*/ 1485900 h 2819400"/>
                <a:gd name="connsiteX30" fmla="*/ 586271 w 2819400"/>
                <a:gd name="connsiteY30" fmla="*/ 1499335 h 2819400"/>
                <a:gd name="connsiteX31" fmla="*/ 604381 w 2819400"/>
                <a:gd name="connsiteY31" fmla="*/ 1603015 h 2819400"/>
                <a:gd name="connsiteX32" fmla="*/ 623507 w 2819400"/>
                <a:gd name="connsiteY32" fmla="*/ 1660639 h 2819400"/>
                <a:gd name="connsiteX33" fmla="*/ 468074 w 2819400"/>
                <a:gd name="connsiteY33" fmla="*/ 1726616 h 2819400"/>
                <a:gd name="connsiteX34" fmla="*/ 527622 w 2819400"/>
                <a:gd name="connsiteY34" fmla="*/ 1866901 h 2819400"/>
                <a:gd name="connsiteX35" fmla="*/ 683091 w 2819400"/>
                <a:gd name="connsiteY35" fmla="*/ 1800908 h 2819400"/>
                <a:gd name="connsiteX36" fmla="*/ 713905 w 2819400"/>
                <a:gd name="connsiteY36" fmla="*/ 1858905 h 2819400"/>
                <a:gd name="connsiteX37" fmla="*/ 776434 w 2819400"/>
                <a:gd name="connsiteY37" fmla="*/ 1943602 h 2819400"/>
                <a:gd name="connsiteX38" fmla="*/ 782287 w 2819400"/>
                <a:gd name="connsiteY38" fmla="*/ 1949711 h 2819400"/>
                <a:gd name="connsiteX39" fmla="*/ 666758 w 2819400"/>
                <a:gd name="connsiteY39" fmla="*/ 2069345 h 2819400"/>
                <a:gd name="connsiteX40" fmla="*/ 776385 w 2819400"/>
                <a:gd name="connsiteY40" fmla="*/ 2175211 h 2819400"/>
                <a:gd name="connsiteX41" fmla="*/ 892759 w 2819400"/>
                <a:gd name="connsiteY41" fmla="*/ 2054702 h 2819400"/>
                <a:gd name="connsiteX42" fmla="*/ 933621 w 2819400"/>
                <a:gd name="connsiteY42" fmla="*/ 2087532 h 2819400"/>
                <a:gd name="connsiteX43" fmla="*/ 1027223 w 2819400"/>
                <a:gd name="connsiteY43" fmla="*/ 2144281 h 2819400"/>
                <a:gd name="connsiteX44" fmla="*/ 1030176 w 2819400"/>
                <a:gd name="connsiteY44" fmla="*/ 2145640 h 2819400"/>
                <a:gd name="connsiteX45" fmla="*/ 967963 w 2819400"/>
                <a:gd name="connsiteY45" fmla="*/ 2299623 h 2819400"/>
                <a:gd name="connsiteX46" fmla="*/ 1109266 w 2819400"/>
                <a:gd name="connsiteY46" fmla="*/ 2356713 h 2819400"/>
                <a:gd name="connsiteX47" fmla="*/ 1171569 w 2819400"/>
                <a:gd name="connsiteY47" fmla="*/ 2202508 h 2819400"/>
                <a:gd name="connsiteX48" fmla="*/ 1179584 w 2819400"/>
                <a:gd name="connsiteY48" fmla="*/ 2205285 h 2819400"/>
                <a:gd name="connsiteX49" fmla="*/ 1260524 w 2819400"/>
                <a:gd name="connsiteY49" fmla="*/ 2224452 h 2819400"/>
                <a:gd name="connsiteX50" fmla="*/ 1333500 w 2819400"/>
                <a:gd name="connsiteY50" fmla="*/ 2230522 h 2819400"/>
                <a:gd name="connsiteX51" fmla="*/ 1333500 w 2819400"/>
                <a:gd name="connsiteY51" fmla="*/ 2400300 h 2819400"/>
                <a:gd name="connsiteX52" fmla="*/ 1485900 w 2819400"/>
                <a:gd name="connsiteY52" fmla="*/ 2400300 h 2819400"/>
                <a:gd name="connsiteX53" fmla="*/ 1485900 w 2819400"/>
                <a:gd name="connsiteY53" fmla="*/ 2230755 h 2819400"/>
                <a:gd name="connsiteX54" fmla="*/ 1581759 w 2819400"/>
                <a:gd name="connsiteY54" fmla="*/ 2219846 h 2819400"/>
                <a:gd name="connsiteX55" fmla="*/ 1659992 w 2819400"/>
                <a:gd name="connsiteY55" fmla="*/ 2194370 h 2819400"/>
                <a:gd name="connsiteX56" fmla="*/ 1726616 w 2819400"/>
                <a:gd name="connsiteY56" fmla="*/ 2351326 h 2819400"/>
                <a:gd name="connsiteX57" fmla="*/ 1866901 w 2819400"/>
                <a:gd name="connsiteY57" fmla="*/ 2291779 h 2819400"/>
                <a:gd name="connsiteX58" fmla="*/ 1801686 w 2819400"/>
                <a:gd name="connsiteY58" fmla="*/ 2138142 h 2819400"/>
                <a:gd name="connsiteX59" fmla="*/ 1824391 w 2819400"/>
                <a:gd name="connsiteY59" fmla="*/ 2126566 h 2819400"/>
                <a:gd name="connsiteX60" fmla="*/ 1914968 w 2819400"/>
                <a:gd name="connsiteY60" fmla="*/ 2065997 h 2819400"/>
                <a:gd name="connsiteX61" fmla="*/ 1948797 w 2819400"/>
                <a:gd name="connsiteY61" fmla="*/ 2036230 h 2819400"/>
                <a:gd name="connsiteX62" fmla="*/ 2069345 w 2819400"/>
                <a:gd name="connsiteY62" fmla="*/ 2152642 h 2819400"/>
                <a:gd name="connsiteX63" fmla="*/ 2175211 w 2819400"/>
                <a:gd name="connsiteY63" fmla="*/ 2043015 h 2819400"/>
                <a:gd name="connsiteX64" fmla="*/ 2055085 w 2819400"/>
                <a:gd name="connsiteY64" fmla="*/ 1927011 h 2819400"/>
                <a:gd name="connsiteX65" fmla="*/ 2070083 w 2819400"/>
                <a:gd name="connsiteY65" fmla="*/ 1909739 h 2819400"/>
                <a:gd name="connsiteX66" fmla="*/ 2131851 w 2819400"/>
                <a:gd name="connsiteY66" fmla="*/ 1815225 h 2819400"/>
                <a:gd name="connsiteX67" fmla="*/ 2144529 w 2819400"/>
                <a:gd name="connsiteY67" fmla="*/ 1788775 h 2819400"/>
                <a:gd name="connsiteX68" fmla="*/ 2299623 w 2819400"/>
                <a:gd name="connsiteY68" fmla="*/ 1851437 h 2819400"/>
                <a:gd name="connsiteX69" fmla="*/ 2356713 w 2819400"/>
                <a:gd name="connsiteY69" fmla="*/ 1710134 h 2819400"/>
                <a:gd name="connsiteX70" fmla="*/ 2202508 w 2819400"/>
                <a:gd name="connsiteY70" fmla="*/ 1647831 h 2819400"/>
                <a:gd name="connsiteX71" fmla="*/ 2205285 w 2819400"/>
                <a:gd name="connsiteY71" fmla="*/ 1639816 h 2819400"/>
                <a:gd name="connsiteX72" fmla="*/ 2228789 w 2819400"/>
                <a:gd name="connsiteY72" fmla="*/ 1533022 h 2819400"/>
                <a:gd name="connsiteX73" fmla="*/ 2232799 w 2819400"/>
                <a:gd name="connsiteY73" fmla="*/ 1485900 h 2819400"/>
                <a:gd name="connsiteX74" fmla="*/ 2400300 w 2819400"/>
                <a:gd name="connsiteY74" fmla="*/ 1485900 h 2819400"/>
                <a:gd name="connsiteX75" fmla="*/ 2400300 w 2819400"/>
                <a:gd name="connsiteY75" fmla="*/ 1333500 h 2819400"/>
                <a:gd name="connsiteX76" fmla="*/ 2233733 w 2819400"/>
                <a:gd name="connsiteY76" fmla="*/ 1333500 h 2819400"/>
                <a:gd name="connsiteX77" fmla="*/ 2233129 w 2819400"/>
                <a:gd name="connsiteY77" fmla="*/ 1320065 h 2819400"/>
                <a:gd name="connsiteX78" fmla="*/ 2215019 w 2819400"/>
                <a:gd name="connsiteY78" fmla="*/ 1216385 h 2819400"/>
                <a:gd name="connsiteX79" fmla="*/ 2195893 w 2819400"/>
                <a:gd name="connsiteY79" fmla="*/ 1158761 h 2819400"/>
                <a:gd name="connsiteX80" fmla="*/ 2351326 w 2819400"/>
                <a:gd name="connsiteY80" fmla="*/ 1092784 h 2819400"/>
                <a:gd name="connsiteX81" fmla="*/ 2291778 w 2819400"/>
                <a:gd name="connsiteY81" fmla="*/ 952499 h 2819400"/>
                <a:gd name="connsiteX82" fmla="*/ 2136309 w 2819400"/>
                <a:gd name="connsiteY82" fmla="*/ 1018492 h 2819400"/>
                <a:gd name="connsiteX83" fmla="*/ 2105495 w 2819400"/>
                <a:gd name="connsiteY83" fmla="*/ 960495 h 2819400"/>
                <a:gd name="connsiteX84" fmla="*/ 2042966 w 2819400"/>
                <a:gd name="connsiteY84" fmla="*/ 875798 h 2819400"/>
                <a:gd name="connsiteX85" fmla="*/ 2037113 w 2819400"/>
                <a:gd name="connsiteY85" fmla="*/ 869689 h 2819400"/>
                <a:gd name="connsiteX86" fmla="*/ 2152642 w 2819400"/>
                <a:gd name="connsiteY86" fmla="*/ 750055 h 2819400"/>
                <a:gd name="connsiteX87" fmla="*/ 2043015 w 2819400"/>
                <a:gd name="connsiteY87" fmla="*/ 644189 h 2819400"/>
                <a:gd name="connsiteX88" fmla="*/ 1926641 w 2819400"/>
                <a:gd name="connsiteY88" fmla="*/ 764698 h 2819400"/>
                <a:gd name="connsiteX89" fmla="*/ 1885779 w 2819400"/>
                <a:gd name="connsiteY89" fmla="*/ 731868 h 2819400"/>
                <a:gd name="connsiteX90" fmla="*/ 1792177 w 2819400"/>
                <a:gd name="connsiteY90" fmla="*/ 675118 h 2819400"/>
                <a:gd name="connsiteX91" fmla="*/ 1789224 w 2819400"/>
                <a:gd name="connsiteY91" fmla="*/ 673760 h 2819400"/>
                <a:gd name="connsiteX92" fmla="*/ 1851437 w 2819400"/>
                <a:gd name="connsiteY92" fmla="*/ 519777 h 2819400"/>
                <a:gd name="connsiteX93" fmla="*/ 1710134 w 2819400"/>
                <a:gd name="connsiteY93" fmla="*/ 462687 h 2819400"/>
                <a:gd name="connsiteX94" fmla="*/ 1647831 w 2819400"/>
                <a:gd name="connsiteY94" fmla="*/ 616892 h 2819400"/>
                <a:gd name="connsiteX95" fmla="*/ 1639816 w 2819400"/>
                <a:gd name="connsiteY95" fmla="*/ 614115 h 2819400"/>
                <a:gd name="connsiteX96" fmla="*/ 1558876 w 2819400"/>
                <a:gd name="connsiteY96" fmla="*/ 594948 h 2819400"/>
                <a:gd name="connsiteX97" fmla="*/ 1485900 w 2819400"/>
                <a:gd name="connsiteY97" fmla="*/ 588878 h 2819400"/>
                <a:gd name="connsiteX98" fmla="*/ 1485900 w 2819400"/>
                <a:gd name="connsiteY98" fmla="*/ 419100 h 2819400"/>
                <a:gd name="connsiteX99" fmla="*/ 0 w 2819400"/>
                <a:gd name="connsiteY99" fmla="*/ 0 h 2819400"/>
                <a:gd name="connsiteX100" fmla="*/ 2819400 w 2819400"/>
                <a:gd name="connsiteY100" fmla="*/ 0 h 2819400"/>
                <a:gd name="connsiteX101" fmla="*/ 2819400 w 2819400"/>
                <a:gd name="connsiteY101" fmla="*/ 2819400 h 2819400"/>
                <a:gd name="connsiteX102" fmla="*/ 0 w 2819400"/>
                <a:gd name="connsiteY102" fmla="*/ 2819400 h 28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819400" h="2819400">
                  <a:moveTo>
                    <a:pt x="1409700" y="952500"/>
                  </a:moveTo>
                  <a:cubicBezTo>
                    <a:pt x="1662205" y="952500"/>
                    <a:pt x="1866900" y="1157195"/>
                    <a:pt x="1866900" y="1409700"/>
                  </a:cubicBezTo>
                  <a:cubicBezTo>
                    <a:pt x="1866900" y="1662205"/>
                    <a:pt x="1662205" y="1866900"/>
                    <a:pt x="1409700" y="1866900"/>
                  </a:cubicBezTo>
                  <a:cubicBezTo>
                    <a:pt x="1157195" y="1866900"/>
                    <a:pt x="952500" y="1662205"/>
                    <a:pt x="952500" y="1409700"/>
                  </a:cubicBezTo>
                  <a:cubicBezTo>
                    <a:pt x="952500" y="1157195"/>
                    <a:pt x="1157195" y="952500"/>
                    <a:pt x="1409700" y="952500"/>
                  </a:cubicBezTo>
                  <a:close/>
                  <a:moveTo>
                    <a:pt x="1333500" y="419100"/>
                  </a:moveTo>
                  <a:lnTo>
                    <a:pt x="1333500" y="588645"/>
                  </a:lnTo>
                  <a:lnTo>
                    <a:pt x="1237641" y="599554"/>
                  </a:lnTo>
                  <a:lnTo>
                    <a:pt x="1159408" y="625030"/>
                  </a:lnTo>
                  <a:lnTo>
                    <a:pt x="1092784" y="468074"/>
                  </a:lnTo>
                  <a:lnTo>
                    <a:pt x="952499" y="527622"/>
                  </a:lnTo>
                  <a:lnTo>
                    <a:pt x="1017714" y="681258"/>
                  </a:lnTo>
                  <a:lnTo>
                    <a:pt x="995010" y="692834"/>
                  </a:lnTo>
                  <a:cubicBezTo>
                    <a:pt x="963601" y="710974"/>
                    <a:pt x="933332" y="731197"/>
                    <a:pt x="904432" y="753403"/>
                  </a:cubicBezTo>
                  <a:lnTo>
                    <a:pt x="870603" y="783170"/>
                  </a:lnTo>
                  <a:lnTo>
                    <a:pt x="750055" y="666758"/>
                  </a:lnTo>
                  <a:lnTo>
                    <a:pt x="644189" y="776385"/>
                  </a:lnTo>
                  <a:lnTo>
                    <a:pt x="764315" y="892389"/>
                  </a:lnTo>
                  <a:lnTo>
                    <a:pt x="749317" y="909661"/>
                  </a:lnTo>
                  <a:cubicBezTo>
                    <a:pt x="726820" y="939410"/>
                    <a:pt x="706153" y="970948"/>
                    <a:pt x="687550" y="1004175"/>
                  </a:cubicBezTo>
                  <a:lnTo>
                    <a:pt x="674871" y="1030626"/>
                  </a:lnTo>
                  <a:lnTo>
                    <a:pt x="519777" y="967963"/>
                  </a:lnTo>
                  <a:lnTo>
                    <a:pt x="462687" y="1109266"/>
                  </a:lnTo>
                  <a:lnTo>
                    <a:pt x="616892" y="1171569"/>
                  </a:lnTo>
                  <a:lnTo>
                    <a:pt x="614115" y="1179584"/>
                  </a:lnTo>
                  <a:cubicBezTo>
                    <a:pt x="603822" y="1215010"/>
                    <a:pt x="596017" y="1250677"/>
                    <a:pt x="590611" y="1286378"/>
                  </a:cubicBezTo>
                  <a:lnTo>
                    <a:pt x="586601" y="1333500"/>
                  </a:lnTo>
                  <a:lnTo>
                    <a:pt x="419100" y="1333500"/>
                  </a:lnTo>
                  <a:lnTo>
                    <a:pt x="419100" y="1485900"/>
                  </a:lnTo>
                  <a:lnTo>
                    <a:pt x="585667" y="1485900"/>
                  </a:lnTo>
                  <a:lnTo>
                    <a:pt x="586271" y="1499335"/>
                  </a:lnTo>
                  <a:cubicBezTo>
                    <a:pt x="590113" y="1534344"/>
                    <a:pt x="596179" y="1568973"/>
                    <a:pt x="604381" y="1603015"/>
                  </a:cubicBezTo>
                  <a:lnTo>
                    <a:pt x="623507" y="1660639"/>
                  </a:lnTo>
                  <a:lnTo>
                    <a:pt x="468074" y="1726616"/>
                  </a:lnTo>
                  <a:lnTo>
                    <a:pt x="527622" y="1866901"/>
                  </a:lnTo>
                  <a:lnTo>
                    <a:pt x="683091" y="1800908"/>
                  </a:lnTo>
                  <a:lnTo>
                    <a:pt x="713905" y="1858905"/>
                  </a:lnTo>
                  <a:cubicBezTo>
                    <a:pt x="732875" y="1888345"/>
                    <a:pt x="753748" y="1916647"/>
                    <a:pt x="776434" y="1943602"/>
                  </a:cubicBezTo>
                  <a:lnTo>
                    <a:pt x="782287" y="1949711"/>
                  </a:lnTo>
                  <a:lnTo>
                    <a:pt x="666758" y="2069345"/>
                  </a:lnTo>
                  <a:lnTo>
                    <a:pt x="776385" y="2175211"/>
                  </a:lnTo>
                  <a:lnTo>
                    <a:pt x="892759" y="2054702"/>
                  </a:lnTo>
                  <a:lnTo>
                    <a:pt x="933621" y="2087532"/>
                  </a:lnTo>
                  <a:cubicBezTo>
                    <a:pt x="963213" y="2108277"/>
                    <a:pt x="994443" y="2127263"/>
                    <a:pt x="1027223" y="2144281"/>
                  </a:cubicBezTo>
                  <a:lnTo>
                    <a:pt x="1030176" y="2145640"/>
                  </a:lnTo>
                  <a:lnTo>
                    <a:pt x="967963" y="2299623"/>
                  </a:lnTo>
                  <a:lnTo>
                    <a:pt x="1109266" y="2356713"/>
                  </a:lnTo>
                  <a:lnTo>
                    <a:pt x="1171569" y="2202508"/>
                  </a:lnTo>
                  <a:lnTo>
                    <a:pt x="1179584" y="2205285"/>
                  </a:lnTo>
                  <a:cubicBezTo>
                    <a:pt x="1206456" y="2213093"/>
                    <a:pt x="1233465" y="2219469"/>
                    <a:pt x="1260524" y="2224452"/>
                  </a:cubicBezTo>
                  <a:lnTo>
                    <a:pt x="1333500" y="2230522"/>
                  </a:lnTo>
                  <a:lnTo>
                    <a:pt x="1333500" y="2400300"/>
                  </a:lnTo>
                  <a:lnTo>
                    <a:pt x="1485900" y="2400300"/>
                  </a:lnTo>
                  <a:lnTo>
                    <a:pt x="1485900" y="2230755"/>
                  </a:lnTo>
                  <a:lnTo>
                    <a:pt x="1581759" y="2219846"/>
                  </a:lnTo>
                  <a:lnTo>
                    <a:pt x="1659992" y="2194370"/>
                  </a:lnTo>
                  <a:lnTo>
                    <a:pt x="1726616" y="2351326"/>
                  </a:lnTo>
                  <a:lnTo>
                    <a:pt x="1866901" y="2291779"/>
                  </a:lnTo>
                  <a:lnTo>
                    <a:pt x="1801686" y="2138142"/>
                  </a:lnTo>
                  <a:lnTo>
                    <a:pt x="1824391" y="2126566"/>
                  </a:lnTo>
                  <a:cubicBezTo>
                    <a:pt x="1855799" y="2108425"/>
                    <a:pt x="1886069" y="2088203"/>
                    <a:pt x="1914968" y="2065997"/>
                  </a:cubicBezTo>
                  <a:lnTo>
                    <a:pt x="1948797" y="2036230"/>
                  </a:lnTo>
                  <a:lnTo>
                    <a:pt x="2069345" y="2152642"/>
                  </a:lnTo>
                  <a:lnTo>
                    <a:pt x="2175211" y="2043015"/>
                  </a:lnTo>
                  <a:lnTo>
                    <a:pt x="2055085" y="1927011"/>
                  </a:lnTo>
                  <a:lnTo>
                    <a:pt x="2070083" y="1909739"/>
                  </a:lnTo>
                  <a:cubicBezTo>
                    <a:pt x="2092580" y="1879990"/>
                    <a:pt x="2113247" y="1848452"/>
                    <a:pt x="2131851" y="1815225"/>
                  </a:cubicBezTo>
                  <a:lnTo>
                    <a:pt x="2144529" y="1788775"/>
                  </a:lnTo>
                  <a:lnTo>
                    <a:pt x="2299623" y="1851437"/>
                  </a:lnTo>
                  <a:lnTo>
                    <a:pt x="2356713" y="1710134"/>
                  </a:lnTo>
                  <a:lnTo>
                    <a:pt x="2202508" y="1647831"/>
                  </a:lnTo>
                  <a:lnTo>
                    <a:pt x="2205285" y="1639816"/>
                  </a:lnTo>
                  <a:cubicBezTo>
                    <a:pt x="2215578" y="1604389"/>
                    <a:pt x="2223384" y="1568723"/>
                    <a:pt x="2228789" y="1533022"/>
                  </a:cubicBezTo>
                  <a:lnTo>
                    <a:pt x="2232799" y="1485900"/>
                  </a:lnTo>
                  <a:lnTo>
                    <a:pt x="2400300" y="1485900"/>
                  </a:lnTo>
                  <a:lnTo>
                    <a:pt x="2400300" y="1333500"/>
                  </a:lnTo>
                  <a:lnTo>
                    <a:pt x="2233733" y="1333500"/>
                  </a:lnTo>
                  <a:lnTo>
                    <a:pt x="2233129" y="1320065"/>
                  </a:lnTo>
                  <a:cubicBezTo>
                    <a:pt x="2229287" y="1285056"/>
                    <a:pt x="2223221" y="1250427"/>
                    <a:pt x="2215019" y="1216385"/>
                  </a:cubicBezTo>
                  <a:lnTo>
                    <a:pt x="2195893" y="1158761"/>
                  </a:lnTo>
                  <a:lnTo>
                    <a:pt x="2351326" y="1092784"/>
                  </a:lnTo>
                  <a:lnTo>
                    <a:pt x="2291778" y="952499"/>
                  </a:lnTo>
                  <a:lnTo>
                    <a:pt x="2136309" y="1018492"/>
                  </a:lnTo>
                  <a:lnTo>
                    <a:pt x="2105495" y="960495"/>
                  </a:lnTo>
                  <a:cubicBezTo>
                    <a:pt x="2086525" y="931054"/>
                    <a:pt x="2065652" y="902753"/>
                    <a:pt x="2042966" y="875798"/>
                  </a:cubicBezTo>
                  <a:lnTo>
                    <a:pt x="2037113" y="869689"/>
                  </a:lnTo>
                  <a:lnTo>
                    <a:pt x="2152642" y="750055"/>
                  </a:lnTo>
                  <a:lnTo>
                    <a:pt x="2043015" y="644189"/>
                  </a:lnTo>
                  <a:lnTo>
                    <a:pt x="1926641" y="764698"/>
                  </a:lnTo>
                  <a:lnTo>
                    <a:pt x="1885779" y="731868"/>
                  </a:lnTo>
                  <a:cubicBezTo>
                    <a:pt x="1856188" y="711122"/>
                    <a:pt x="1824957" y="692137"/>
                    <a:pt x="1792177" y="675118"/>
                  </a:cubicBezTo>
                  <a:lnTo>
                    <a:pt x="1789224" y="673760"/>
                  </a:lnTo>
                  <a:lnTo>
                    <a:pt x="1851437" y="519777"/>
                  </a:lnTo>
                  <a:lnTo>
                    <a:pt x="1710134" y="462687"/>
                  </a:lnTo>
                  <a:lnTo>
                    <a:pt x="1647831" y="616892"/>
                  </a:lnTo>
                  <a:lnTo>
                    <a:pt x="1639816" y="614115"/>
                  </a:lnTo>
                  <a:cubicBezTo>
                    <a:pt x="1612945" y="606307"/>
                    <a:pt x="1585935" y="599931"/>
                    <a:pt x="1558876" y="594948"/>
                  </a:cubicBezTo>
                  <a:lnTo>
                    <a:pt x="1485900" y="588878"/>
                  </a:lnTo>
                  <a:lnTo>
                    <a:pt x="1485900" y="419100"/>
                  </a:lnTo>
                  <a:close/>
                  <a:moveTo>
                    <a:pt x="0" y="0"/>
                  </a:moveTo>
                  <a:lnTo>
                    <a:pt x="2819400" y="0"/>
                  </a:lnTo>
                  <a:lnTo>
                    <a:pt x="2819400" y="2819400"/>
                  </a:lnTo>
                  <a:lnTo>
                    <a:pt x="0" y="28194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67232" tIns="67232" rIns="25215" bIns="25215" rtlCol="0" anchor="ctr" anchorCtr="0"/>
            <a:lstStyle/>
            <a:p>
              <a:pPr algn="ctr" defTabSz="685598"/>
              <a:endParaRPr lang="en-US" spc="-75"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3723435" y="4960690"/>
              <a:ext cx="1163607" cy="389492"/>
            </a:xfrm>
            <a:prstGeom prst="rect">
              <a:avLst/>
            </a:prstGeom>
            <a:noFill/>
          </p:spPr>
          <p:txBody>
            <a:bodyPr wrap="none" rtlCol="0">
              <a:spAutoFit/>
            </a:bodyPr>
            <a:lstStyle/>
            <a:p>
              <a:pPr algn="ctr"/>
              <a:r>
                <a:rPr lang="en-US" dirty="0" smtClean="0">
                  <a:latin typeface="+mn-lt"/>
                </a:rPr>
                <a:t>Resource</a:t>
              </a:r>
              <a:endParaRPr lang="en-US" dirty="0">
                <a:latin typeface="+mn-lt"/>
              </a:endParaRPr>
            </a:p>
          </p:txBody>
        </p:sp>
      </p:grpSp>
    </p:spTree>
    <p:extLst>
      <p:ext uri="{BB962C8B-B14F-4D97-AF65-F5344CB8AC3E}">
        <p14:creationId xmlns:p14="http://schemas.microsoft.com/office/powerpoint/2010/main" val="6528223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2383576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5-30426_BUILD_2013_Template_White">
  <a:themeElements>
    <a:clrScheme name="Build 2013 Template">
      <a:dk1>
        <a:srgbClr val="00000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188F"/>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lumMod val="75000"/>
                    <a:lumOff val="25000"/>
                  </a:schemeClr>
                </a:gs>
                <a:gs pos="100000">
                  <a:schemeClr val="tx1">
                    <a:lumMod val="75000"/>
                    <a:lumOff val="25000"/>
                  </a:schemeClr>
                </a:gs>
              </a:gsLst>
              <a:lin ang="5400000" scaled="0"/>
            </a:gradFill>
          </a:defRPr>
        </a:defPPr>
      </a:lstStyle>
    </a:txDef>
  </a:objectDefaults>
  <a:extraClrSchemeLst/>
  <a:extLst>
    <a:ext uri="{05A4C25C-085E-4340-85A3-A5531E510DB2}">
      <thm15:themeFamily xmlns:thm15="http://schemas.microsoft.com/office/thememl/2012/main" name="Build_2013_Template_16x9.potx [Read-Only]" id="{6A26D398-189B-47F8-83A4-8DC9C05C6853}" vid="{19C30AF6-4200-400F-849F-68D1D1919D07}"/>
    </a:ext>
  </a:extLst>
</a:theme>
</file>

<file path=ppt/theme/theme2.xml><?xml version="1.0" encoding="utf-8"?>
<a:theme xmlns:a="http://schemas.openxmlformats.org/drawingml/2006/main" name="1_5-30426_BUILD_2013_Template_D.Blue">
  <a:themeElements>
    <a:clrScheme name="Build 2013 Template">
      <a:dk1>
        <a:srgbClr val="00000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188F"/>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lumMod val="75000"/>
                    <a:lumOff val="25000"/>
                  </a:schemeClr>
                </a:gs>
                <a:gs pos="100000">
                  <a:schemeClr val="tx1">
                    <a:lumMod val="75000"/>
                    <a:lumOff val="25000"/>
                  </a:schemeClr>
                </a:gs>
              </a:gsLst>
              <a:lin ang="5400000" scaled="0"/>
            </a:gradFill>
          </a:defRPr>
        </a:defPPr>
      </a:lstStyle>
    </a:txDef>
  </a:objectDefaults>
  <a:extraClrSchemeLst/>
  <a:extLst>
    <a:ext uri="{05A4C25C-085E-4340-85A3-A5531E510DB2}">
      <thm15:themeFamily xmlns:thm15="http://schemas.microsoft.com/office/thememl/2012/main" name="Build_2013_Template_16x9.potx [Read-Only]" id="{6A26D398-189B-47F8-83A4-8DC9C05C6853}" vid="{E4E8B02C-5F85-4B91-818F-19E224F9E61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b462f58f-133c-4c16-9120-c368d67ec9a3" Revision="1" Stencil="System.MyShapes" StencilVersion="1.0"/>
</Control>
</file>

<file path=customXml/item10.xml><?xml version="1.0" encoding="utf-8"?>
<Control xmlns="http://schemas.microsoft.com/VisualStudio/2011/storyboarding/control">
  <Id Name="4bbca70f-fdbf-4e2e-bf8b-53799af733d9" Revision="1" Stencil="System.MyShapes" StencilVersion="1.0"/>
</Control>
</file>

<file path=customXml/item11.xml><?xml version="1.0" encoding="utf-8"?>
<Control xmlns="http://schemas.microsoft.com/VisualStudio/2011/storyboarding/control">
  <Id Name="a1d8d1ea-85c9-4520-ba31-dcfa8c572325" Revision="1" Stencil="System.MyShapes" StencilVersion="1.0"/>
</Control>
</file>

<file path=customXml/item12.xml><?xml version="1.0" encoding="utf-8"?>
<Control xmlns="http://schemas.microsoft.com/VisualStudio/2011/storyboarding/control">
  <Id Name="a1d8d1ea-85c9-4520-ba31-dcfa8c572325" Revision="1" Stencil="System.MyShapes" StencilVersion="1.0"/>
</Control>
</file>

<file path=customXml/item13.xml><?xml version="1.0" encoding="utf-8"?>
<Control xmlns="http://schemas.microsoft.com/VisualStudio/2011/storyboarding/control">
  <Id Name="09a41815-7871-4a11-be05-ca5331746852" Revision="1" Stencil="System.MyShapes" StencilVersion="1.0"/>
</Control>
</file>

<file path=customXml/item14.xml><?xml version="1.0" encoding="utf-8"?>
<Control xmlns="http://schemas.microsoft.com/VisualStudio/2011/storyboarding/control">
  <Id Name="5be2ea78-a63e-42b8-ade6-ffb9302a8cce" Revision="1" Stencil="bd6305d0-abf3-4872-a861-baba8260f745" StencilVersion="1.0"/>
</Control>
</file>

<file path=customXml/item15.xml><?xml version="1.0" encoding="utf-8"?>
<Control xmlns="http://schemas.microsoft.com/VisualStudio/2011/storyboarding/control">
  <Id Name="3b0baff2-c0ac-484e-b83d-ca5282f98dcd" Revision="1" Stencil="bd6305d0-abf3-4872-a861-baba8260f745" StencilVersion="1.0"/>
</Control>
</file>

<file path=customXml/item16.xml><?xml version="1.0" encoding="utf-8"?>
<?mso-contentType ?>
<FormTemplates xmlns="http://schemas.microsoft.com/sharepoint/v3/contenttype/forms">
  <Display>DocumentLibraryForm</Display>
  <Edit>DocumentLibraryForm</Edit>
  <New>DocumentLibraryForm</New>
</FormTemplates>
</file>

<file path=customXml/item17.xml><?xml version="1.0" encoding="utf-8"?>
<Control xmlns="http://schemas.microsoft.com/VisualStudio/2011/storyboarding/control">
  <Id Name="5d3994c7-25d0-4d08-8023-b10187219022" Revision="1" Stencil="bd6305d0-abf3-4872-a861-baba8260f745" StencilVersion="1.0"/>
</Control>
</file>

<file path=customXml/item18.xml><?xml version="1.0" encoding="utf-8"?>
<Control xmlns="http://schemas.microsoft.com/VisualStudio/2011/storyboarding/control">
  <Id Name="666daae4-4e82-4c10-960e-2e9b0f45adf1" Revision="1" Stencil="f0fc4329-16eb-469f-b220-892c3e81265e" StencilVersion="1.0"/>
</Control>
</file>

<file path=customXml/item19.xml><?xml version="1.0" encoding="utf-8"?>
<Control xmlns="http://schemas.microsoft.com/VisualStudio/2011/storyboarding/control">
  <Id Name="1259a7ab-4b96-4970-9e1e-4ac90968c92a" Revision="1" Stencil="bd6305d0-abf3-4872-a861-baba8260f745" StencilVersion="1.0"/>
</Control>
</file>

<file path=customXml/item2.xml><?xml version="1.0" encoding="utf-8"?>
<Control xmlns="http://schemas.microsoft.com/VisualStudio/2011/storyboarding/control">
  <Id Name="a1d8d1ea-85c9-4520-ba31-dcfa8c572325" Revision="1" Stencil="System.MyShapes" StencilVersion="1.0"/>
</Control>
</file>

<file path=customXml/item20.xml><?xml version="1.0" encoding="utf-8"?>
<Control xmlns="http://schemas.microsoft.com/VisualStudio/2011/storyboarding/control">
  <Id Name="61344e31-8eca-4adb-9c91-4d06592f6c85" Revision="1" Stencil="System.MyShapes" StencilVersion="1.0"/>
</Control>
</file>

<file path=customXml/item21.xml><?xml version="1.0" encoding="utf-8"?>
<Control xmlns="http://schemas.microsoft.com/VisualStudio/2011/storyboarding/control">
  <Id Name="9c73c4a0-2201-4c2f-a519-41e545cff4bb" Revision="1" Stencil="bd6305d0-abf3-4872-a861-baba8260f745" StencilVersion="1.0"/>
</Control>
</file>

<file path=customXml/item22.xml><?xml version="1.0" encoding="utf-8"?>
<Control xmlns="http://schemas.microsoft.com/VisualStudio/2011/storyboarding/control">
  <Id Name="6e22b007-b5db-4c11-84a8-b1392b190e01" Revision="1" Stencil="11585fe0-0be0-45cf-a2f1-54bf7d86f2a6" StencilVersion="1.0"/>
</Control>
</file>

<file path=customXml/item23.xml><?xml version="1.0" encoding="utf-8"?>
<Control xmlns="http://schemas.microsoft.com/VisualStudio/2011/storyboarding/control">
  <Id Name="5be2ea78-a63e-42b8-ade6-ffb9302a8cce" Revision="1" Stencil="bd6305d0-abf3-4872-a861-baba8260f745" StencilVersion="1.0"/>
</Control>
</file>

<file path=customXml/item24.xml><?xml version="1.0" encoding="utf-8"?>
<Control xmlns="http://schemas.microsoft.com/VisualStudio/2011/storyboarding/control">
  <Id Name="22238087-5add-475a-b388-0b3e39addab9" Revision="1" Stencil="bd6305d0-abf3-4872-a861-baba8260f745" StencilVersion="1.0"/>
</Control>
</file>

<file path=customXml/item25.xml><?xml version="1.0" encoding="utf-8"?>
<Control xmlns="http://schemas.microsoft.com/VisualStudio/2011/storyboarding/control">
  <Id Name="5be2ea78-a63e-42b8-ade6-ffb9302a8cce" Revision="1" Stencil="bd6305d0-abf3-4872-a861-baba8260f745" StencilVersion="1.0"/>
</Control>
</file>

<file path=customXml/item26.xml><?xml version="1.0" encoding="utf-8"?>
<Control xmlns="http://schemas.microsoft.com/VisualStudio/2011/storyboarding/control">
  <Id Name="7c866bc9-fa03-43e4-9388-e9ab8ac975f0" Revision="1" Stencil="f0fc4329-16eb-469f-b220-892c3e81265e" StencilVersion="1.0"/>
</Control>
</file>

<file path=customXml/item27.xml><?xml version="1.0" encoding="utf-8"?>
<Control xmlns="http://schemas.microsoft.com/VisualStudio/2011/storyboarding/control">
  <Id Name="45437586-08c6-459f-9b99-32f60047083d" Revision="1" Stencil="11585fe0-0be0-45cf-a2f1-54bf7d86f2a6" StencilVersion="1.0"/>
</Control>
</file>

<file path=customXml/item28.xml><?xml version="1.0" encoding="utf-8"?>
<Control xmlns="http://schemas.microsoft.com/VisualStudio/2011/storyboarding/control">
  <Id Name="666daae4-4e82-4c10-960e-2e9b0f45adf1" Revision="1" Stencil="f0fc4329-16eb-469f-b220-892c3e81265e" StencilVersion="1.0"/>
</Control>
</file>

<file path=customXml/item29.xml><?xml version="1.0" encoding="utf-8"?>
<Control xmlns="http://schemas.microsoft.com/VisualStudio/2011/storyboarding/control">
  <Id Name="5d3994c7-25d0-4d08-8023-b10187219022" Revision="1" Stencil="bd6305d0-abf3-4872-a861-baba8260f745" StencilVersion="1.0"/>
</Control>
</file>

<file path=customXml/item3.xml><?xml version="1.0" encoding="utf-8"?>
<Control xmlns="http://schemas.microsoft.com/VisualStudio/2011/storyboarding/control">
  <Id Name="04e8d014-8fb4-4e55-9760-113b9e9f3709" Revision="1" Stencil="f0fc4329-16eb-469f-b220-892c3e81265e" StencilVersion="1.0"/>
</Control>
</file>

<file path=customXml/item30.xml><?xml version="1.0" encoding="utf-8"?>
<Control xmlns="http://schemas.microsoft.com/VisualStudio/2011/storyboarding/control">
  <Id Name="9c73c4a0-2201-4c2f-a519-41e545cff4bb" Revision="1" Stencil="bd6305d0-abf3-4872-a861-baba8260f745" StencilVersion="1.0"/>
</Control>
</file>

<file path=customXml/item31.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89fe5faf2f25a24617a4f509b32cc989">
  <xsd:schema xmlns:xsd="http://www.w3.org/2001/XMLSchema" xmlns:xs="http://www.w3.org/2001/XMLSchema" xmlns:p="http://schemas.microsoft.com/office/2006/metadata/properties" xmlns:ns2="2295e2e7-0eeb-498e-8716-217bb2ee6ee3" xmlns:ns3="230e9df3-be65-4c73-a93b-d1236ebd677e" xmlns:ns4="8b529f77-48ab-4581-b468-93f09345b8aa" targetNamespace="http://schemas.microsoft.com/office/2006/metadata/properties" ma:root="true" ma:fieldsID="dfcb5511298a0ed35e170e5fd997f4f9" ns2:_="" ns3:_="" ns4:_="">
    <xsd:import namespace="2295e2e7-0eeb-498e-8716-217bb2ee6ee3"/>
    <xsd:import namespace="230e9df3-be65-4c73-a93b-d1236ebd677e"/>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3:TaxCatchAll" minOccurs="0"/>
                <xsd:element ref="ns2:ProductTaxHTField0" minOccurs="0"/>
                <xsd:element ref="ns3:TaxCatchAllLabel" minOccurs="0"/>
                <xsd:element ref="ns2:CampaignTaxHTField0" minOccurs="0"/>
                <xsd:element ref="ns2:TrackTaxHTField0" minOccurs="0"/>
                <xsd:element ref="ns2:Event_x0020_VenueTaxHTField0" minOccurs="0"/>
                <xsd:element ref="ns4: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CampaignTaxHTField0" ma:index="22" nillable="true" ma:taxonomy="true" ma:internalName="CampaignTaxHTField0" ma:taxonomyFieldName="Campaign" ma:displayName="Campaign" ma:default="" ma:fieldId="{bcb0c99d-b00c-42c6-a16b-e1e19731231d}"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e385fb40-52d4-4fae-9c5b-3e8ff8a5878e" ma:termSetId="0e8a185d-72dd-4c1d-8327-06082ee7fbb4"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default="" ma:fieldId="{72225233-bea3-47c9-bcc0-70aff672e91a}" ma:sspId="e385fb40-52d4-4fae-9c5b-3e8ff8a5878e" ma:termSetId="8280d8e6-c94b-487a-bd8b-a7d74984b60f"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e385fb40-52d4-4fae-9c5b-3e8ff8a5878e" ma:termSetId="9f38d074-2cf4-4ed1-a6e5-5a4bce426041" ma:anchorId="00000000-0000-0000-0000-000000000000" ma:open="false" ma:isKeyword="false">
      <xsd:complexType>
        <xsd:sequence>
          <xsd:element ref="pc:Terms" minOccurs="0" maxOccurs="1"/>
        </xsd:sequence>
      </xsd:complexType>
    </xsd:element>
    <xsd:element name="Event1TaxHTField0" ma:index="30" nillable="true" ma:taxonomy="true" ma:internalName="Event1TaxHTField0" ma:taxonomyFieldName="Event1" ma:displayName="Event Name" ma:readOnly="false" ma:default="" ma:fieldId="{173efa96-a0c5-4b7e-a5c5-ebf0027a79b9}" ma:sspId="e385fb40-52d4-4fae-9c5b-3e8ff8a5878e" ma:termSetId="a93ddb37-2243-4aad-9cf2-0d00c5bfa8e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e385fb40-52d4-4fae-9c5b-3e8ff8a5878e" ma:termSetId="147febbf-7221-47e1-ac97-bfa1a8e909cb"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2.xml><?xml version="1.0" encoding="utf-8"?>
<Control xmlns="http://schemas.microsoft.com/VisualStudio/2011/storyboarding/control">
  <Id Name="4bbca70f-fdbf-4e2e-bf8b-53799af733d9" Revision="1" Stencil="System.MyShapes" StencilVersion="1.0"/>
</Control>
</file>

<file path=customXml/item33.xml><?xml version="1.0" encoding="utf-8"?>
<Control xmlns="http://schemas.microsoft.com/VisualStudio/2011/storyboarding/control">
  <Id Name="3b0baff2-c0ac-484e-b83d-ca5282f98dcd" Revision="1" Stencil="bd6305d0-abf3-4872-a861-baba8260f745" StencilVersion="1.0"/>
</Control>
</file>

<file path=customXml/item34.xml><?xml version="1.0" encoding="utf-8"?>
<Control xmlns="http://schemas.microsoft.com/VisualStudio/2011/storyboarding/control">
  <Id Name="e64d21e0-e71d-4ec9-b022-3fc10c464395" Revision="1" Stencil="11585fe0-0be0-45cf-a2f1-54bf7d86f2a6" StencilVersion="1.0"/>
</Control>
</file>

<file path=customXml/item35.xml><?xml version="1.0" encoding="utf-8"?>
<Control xmlns="http://schemas.microsoft.com/VisualStudio/2011/storyboarding/control">
  <Id Name="61344e31-8eca-4adb-9c91-4d06592f6c85" Revision="1" Stencil="System.MyShapes" StencilVersion="1.0"/>
</Control>
</file>

<file path=customXml/item36.xml><?xml version="1.0" encoding="utf-8"?>
<Control xmlns="http://schemas.microsoft.com/VisualStudio/2011/storyboarding/control">
  <Id Name="1259a7ab-4b96-4970-9e1e-4ac90968c92a" Revision="1" Stencil="bd6305d0-abf3-4872-a861-baba8260f745" StencilVersion="1.0"/>
</Control>
</file>

<file path=customXml/item37.xml><?xml version="1.0" encoding="utf-8"?>
<Control xmlns="http://schemas.microsoft.com/VisualStudio/2011/storyboarding/control">
  <Id Name="e64d21e0-e71d-4ec9-b022-3fc10c464395" Revision="1" Stencil="11585fe0-0be0-45cf-a2f1-54bf7d86f2a6" StencilVersion="1.0"/>
</Control>
</file>

<file path=customXml/item38.xml><?xml version="1.0" encoding="utf-8"?>
<Control xmlns="http://schemas.microsoft.com/VisualStudio/2011/storyboarding/control">
  <Id Name="3b0baff2-c0ac-484e-b83d-ca5282f98dcd" Revision="1" Stencil="bd6305d0-abf3-4872-a861-baba8260f745" StencilVersion="1.0"/>
</Control>
</file>

<file path=customXml/item39.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3-06-28T07:00:00+00:00</Event_x0020_End_x0020_Date>
    <Event_x0020_Start_x0020_Date xmlns="2295e2e7-0eeb-498e-8716-217bb2ee6ee3">2013-06-26T07:00:00+00:00</Event_x0020_Start_x0020_Date>
    <MS_x0020_Speaker xmlns="2295e2e7-0eeb-498e-8716-217bb2ee6ee3">
      <UserInfo>
        <DisplayName/>
        <AccountId xsi:nil="true"/>
        <AccountType/>
      </UserInfo>
    </MS_x0020_Speaker>
    <External_x0020_Speaker xmlns="2295e2e7-0eeb-498e-8716-217bb2ee6ee3">Vittorio Bertocci</External_x0020_Speaker>
    <Session_x0020_Code xmlns="2295e2e7-0eeb-498e-8716-217bb2ee6ee3">3-518</Session_x0020_Code>
    <ProductTaxHTField0 xmlns="2295e2e7-0eeb-498e-8716-217bb2ee6ee3">
      <Terms xmlns="http://schemas.microsoft.com/office/infopath/2007/PartnerControls"/>
    </ProductTaxHTField0>
    <Presentation_x0020_Date xmlns="2295e2e7-0eeb-498e-8716-217bb2ee6ee3">2013-06-28T00:00:00-07: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San Francisco</TermName>
          <TermId xmlns="http://schemas.microsoft.com/office/infopath/2007/PartnerControls">84dfcb53-432b-499d-8965-93d483d36b4a</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BUILD</TermName>
          <TermId xmlns="http://schemas.microsoft.com/office/infopath/2007/PartnerControls">58542b36-5bf5-46a6-a53f-a41fb7a73785</TermId>
        </TermInfo>
      </Terms>
    </Event1TaxHTField0>
    <MS_x0020_Content_x0020_Owner xmlns="2295e2e7-0eeb-498e-8716-217bb2ee6ee3">
      <UserInfo>
        <DisplayName/>
        <AccountId xsi:nil="true"/>
        <AccountType/>
      </UserInfo>
    </MS_x0020_Content_x0020_Owner>
    <Event_x0020_VenueTaxHTField0 xmlns="2295e2e7-0eeb-498e-8716-217bb2ee6ee3">
      <Terms xmlns="http://schemas.microsoft.com/office/infopath/2007/PartnerControls"/>
    </Event_x0020_VenueTaxHTField0>
    <TaxCatchAll xmlns="230e9df3-be65-4c73-a93b-d1236ebd677e">
      <Value>497</Value>
      <Value>605</Value>
    </TaxCatchAll>
    <AudienceTaxHTField0 xmlns="8b529f77-48ab-4581-b468-93f09345b8aa">
      <Terms xmlns="http://schemas.microsoft.com/office/infopath/2007/PartnerControls"/>
    </AudienceTaxHTField0>
  </documentManagement>
</p:properties>
</file>

<file path=customXml/item4.xml><?xml version="1.0" encoding="utf-8"?>
<Control xmlns="http://schemas.microsoft.com/VisualStudio/2011/storyboarding/control">
  <Id Name="86d41f7d-20b6-4674-b8c4-ced200a058f6" Revision="1" Stencil="11585fe0-0be0-45cf-a2f1-54bf7d86f2a6" StencilVersion="1.0"/>
</Control>
</file>

<file path=customXml/item40.xml><?xml version="1.0" encoding="utf-8"?>
<Control xmlns="http://schemas.microsoft.com/VisualStudio/2011/storyboarding/control">
  <Id Name="7c866bc9-fa03-43e4-9388-e9ab8ac975f0" Revision="1" Stencil="f0fc4329-16eb-469f-b220-892c3e81265e" StencilVersion="1.0"/>
</Control>
</file>

<file path=customXml/item41.xml><?xml version="1.0" encoding="utf-8"?>
<Control xmlns="http://schemas.microsoft.com/VisualStudio/2011/storyboarding/control">
  <Id Name="9c73c4a0-2201-4c2f-a519-41e545cff4bb" Revision="1" Stencil="bd6305d0-abf3-4872-a861-baba8260f745" StencilVersion="1.0"/>
</Control>
</file>

<file path=customXml/item42.xml><?xml version="1.0" encoding="utf-8"?>
<Control xmlns="http://schemas.microsoft.com/VisualStudio/2011/storyboarding/control">
  <Id Name="7c866bc9-fa03-43e4-9388-e9ab8ac975f0" Revision="1" Stencil="f0fc4329-16eb-469f-b220-892c3e81265e" StencilVersion="1.0"/>
</Control>
</file>

<file path=customXml/item43.xml><?xml version="1.0" encoding="utf-8"?>
<Control xmlns="http://schemas.microsoft.com/VisualStudio/2011/storyboarding/control">
  <Id Name="666daae4-4e82-4c10-960e-2e9b0f45adf1" Revision="1" Stencil="f0fc4329-16eb-469f-b220-892c3e81265e" StencilVersion="1.0"/>
</Control>
</file>

<file path=customXml/item44.xml><?xml version="1.0" encoding="utf-8"?>
<Control xmlns="http://schemas.microsoft.com/VisualStudio/2011/storyboarding/control">
  <Id Name="1259a7ab-4b96-4970-9e1e-4ac90968c92a" Revision="1" Stencil="bd6305d0-abf3-4872-a861-baba8260f745" StencilVersion="1.0"/>
</Control>
</file>

<file path=customXml/item45.xml><?xml version="1.0" encoding="utf-8"?>
<Control xmlns="http://schemas.microsoft.com/VisualStudio/2011/storyboarding/control">
  <Id Name="22238087-5add-475a-b388-0b3e39addab9" Revision="1" Stencil="bd6305d0-abf3-4872-a861-baba8260f745" StencilVersion="1.0"/>
</Control>
</file>

<file path=customXml/item46.xml><?xml version="1.0" encoding="utf-8"?>
<Control xmlns="http://schemas.microsoft.com/VisualStudio/2011/storyboarding/control">
  <Id Name="6e22b007-b5db-4c11-84a8-b1392b190e01" Revision="1" Stencil="11585fe0-0be0-45cf-a2f1-54bf7d86f2a6" StencilVersion="1.0"/>
</Control>
</file>

<file path=customXml/item47.xml><?xml version="1.0" encoding="utf-8"?>
<Control xmlns="http://schemas.microsoft.com/VisualStudio/2011/storyboarding/control">
  <Id Name="22238087-5add-475a-b388-0b3e39addab9" Revision="1" Stencil="bd6305d0-abf3-4872-a861-baba8260f745" StencilVersion="1.0"/>
</Control>
</file>

<file path=customXml/item48.xml><?xml version="1.0" encoding="utf-8"?>
<Control xmlns="http://schemas.microsoft.com/VisualStudio/2011/storyboarding/control">
  <Id Name="c54ff58e-9767-4bf4-a191-1be982c53ea6" Revision="1" Stencil="11585fe0-0be0-45cf-a2f1-54bf7d86f2a6" StencilVersion="1.0"/>
</Control>
</file>

<file path=customXml/item49.xml><?xml version="1.0" encoding="utf-8"?>
<Control xmlns="http://schemas.microsoft.com/VisualStudio/2011/storyboarding/control">
  <Id Name="7c866bc9-fa03-43e4-9388-e9ab8ac975f0" Revision="1" Stencil="f0fc4329-16eb-469f-b220-892c3e81265e" StencilVersion="1.0"/>
</Control>
</file>

<file path=customXml/item5.xml><?xml version="1.0" encoding="utf-8"?>
<Control xmlns="http://schemas.microsoft.com/VisualStudio/2011/storyboarding/control">
  <Id Name="9c73c4a0-2201-4c2f-a519-41e545cff4bb" Revision="1" Stencil="bd6305d0-abf3-4872-a861-baba8260f745" StencilVersion="1.0"/>
</Control>
</file>

<file path=customXml/item50.xml><?xml version="1.0" encoding="utf-8"?>
<Control xmlns="http://schemas.microsoft.com/VisualStudio/2011/storyboarding/control">
  <Id Name="5296dd78-65c0-434f-a3fb-66deff134771" Revision="1" Stencil="11585fe0-0be0-45cf-a2f1-54bf7d86f2a6" StencilVersion="1.0"/>
</Control>
</file>

<file path=customXml/item51.xml><?xml version="1.0" encoding="utf-8"?>
<Control xmlns="http://schemas.microsoft.com/VisualStudio/2011/storyboarding/control">
  <Id Name="5d3994c7-25d0-4d08-8023-b10187219022" Revision="1" Stencil="bd6305d0-abf3-4872-a861-baba8260f745" StencilVersion="1.0"/>
</Control>
</file>

<file path=customXml/item52.xml><?xml version="1.0" encoding="utf-8"?>
<Control xmlns="http://schemas.microsoft.com/VisualStudio/2011/storyboarding/control">
  <Id Name="61344e31-8eca-4adb-9c91-4d06592f6c85" Revision="1" Stencil="System.MyShapes" StencilVersion="1.0"/>
</Control>
</file>

<file path=customXml/item53.xml><?xml version="1.0" encoding="utf-8"?>
<Control xmlns="http://schemas.microsoft.com/VisualStudio/2011/storyboarding/control">
  <Id Name="7c866bc9-fa03-43e4-9388-e9ab8ac975f0" Revision="1" Stencil="f0fc4329-16eb-469f-b220-892c3e81265e" StencilVersion="1.0"/>
</Control>
</file>

<file path=customXml/item54.xml><?xml version="1.0" encoding="utf-8"?>
<Control xmlns="http://schemas.microsoft.com/VisualStudio/2011/storyboarding/control">
  <Id Name="666daae4-4e82-4c10-960e-2e9b0f45adf1" Revision="1" Stencil="f0fc4329-16eb-469f-b220-892c3e81265e" StencilVersion="1.0"/>
</Control>
</file>

<file path=customXml/item55.xml><?xml version="1.0" encoding="utf-8"?>
<Control xmlns="http://schemas.microsoft.com/VisualStudio/2011/storyboarding/control">
  <Id Name="5be2ea78-a63e-42b8-ade6-ffb9302a8cce" Revision="1" Stencil="bd6305d0-abf3-4872-a861-baba8260f745" StencilVersion="1.0"/>
</Control>
</file>

<file path=customXml/item56.xml><?xml version="1.0" encoding="utf-8"?>
<Control xmlns="http://schemas.microsoft.com/VisualStudio/2011/storyboarding/control">
  <Id Name="61344e31-8eca-4adb-9c91-4d06592f6c85" Revision="1" Stencil="System.MyShapes" StencilVersion="1.0"/>
</Control>
</file>

<file path=customXml/item57.xml><?xml version="1.0" encoding="utf-8"?>
<Control xmlns="http://schemas.microsoft.com/VisualStudio/2011/storyboarding/control">
  <Id Name="4bbca70f-fdbf-4e2e-bf8b-53799af733d9" Revision="1" Stencil="System.MyShapes" StencilVersion="1.0"/>
</Control>
</file>

<file path=customXml/item58.xml><?xml version="1.0" encoding="utf-8"?>
<Control xmlns="http://schemas.microsoft.com/VisualStudio/2011/storyboarding/control">
  <Id Name="7c866bc9-fa03-43e4-9388-e9ab8ac975f0" Revision="1" Stencil="f0fc4329-16eb-469f-b220-892c3e81265e" StencilVersion="1.0"/>
</Control>
</file>

<file path=customXml/item59.xml><?xml version="1.0" encoding="utf-8"?>
<Control xmlns="http://schemas.microsoft.com/VisualStudio/2011/storyboarding/control">
  <Id Name="7c866bc9-fa03-43e4-9388-e9ab8ac975f0" Revision="1" Stencil="f0fc4329-16eb-469f-b220-892c3e81265e" StencilVersion="1.0"/>
</Control>
</file>

<file path=customXml/item6.xml><?xml version="1.0" encoding="utf-8"?>
<Control xmlns="http://schemas.microsoft.com/VisualStudio/2011/storyboarding/control">
  <Id Name="4bbca70f-fdbf-4e2e-bf8b-53799af733d9" Revision="1" Stencil="System.MyShapes" StencilVersion="1.0"/>
</Control>
</file>

<file path=customXml/item60.xml><?xml version="1.0" encoding="utf-8"?>
<Control xmlns="http://schemas.microsoft.com/VisualStudio/2011/storyboarding/control">
  <Id Name="3b0baff2-c0ac-484e-b83d-ca5282f98dcd" Revision="1" Stencil="bd6305d0-abf3-4872-a861-baba8260f745" StencilVersion="1.0"/>
</Control>
</file>

<file path=customXml/item61.xml><?xml version="1.0" encoding="utf-8"?>
<Control xmlns="http://schemas.microsoft.com/VisualStudio/2011/storyboarding/control">
  <Id Name="45437586-08c6-459f-9b99-32f60047083d" Revision="1" Stencil="11585fe0-0be0-45cf-a2f1-54bf7d86f2a6" StencilVersion="1.0"/>
</Control>
</file>

<file path=customXml/item62.xml><?xml version="1.0" encoding="utf-8"?>
<Control xmlns="http://schemas.microsoft.com/VisualStudio/2011/storyboarding/control">
  <Id Name="666daae4-4e82-4c10-960e-2e9b0f45adf1" Revision="1" Stencil="f0fc4329-16eb-469f-b220-892c3e81265e" StencilVersion="1.0"/>
</Control>
</file>

<file path=customXml/item63.xml><?xml version="1.0" encoding="utf-8"?>
<Control xmlns="http://schemas.microsoft.com/VisualStudio/2011/storyboarding/control">
  <Id Name="7c866bc9-fa03-43e4-9388-e9ab8ac975f0" Revision="1" Stencil="f0fc4329-16eb-469f-b220-892c3e81265e" StencilVersion="1.0"/>
</Control>
</file>

<file path=customXml/item64.xml><?xml version="1.0" encoding="utf-8"?>
<Control xmlns="http://schemas.microsoft.com/VisualStudio/2011/storyboarding/control">
  <Id Name="09a41815-7871-4a11-be05-ca5331746852" Revision="1" Stencil="System.MyShapes" StencilVersion="1.0"/>
</Control>
</file>

<file path=customXml/item65.xml><?xml version="1.0" encoding="utf-8"?>
<Control xmlns="http://schemas.microsoft.com/VisualStudio/2011/storyboarding/control">
  <Id Name="1259a7ab-4b96-4970-9e1e-4ac90968c92a" Revision="1" Stencil="bd6305d0-abf3-4872-a861-baba8260f745" StencilVersion="1.0"/>
</Control>
</file>

<file path=customXml/item66.xml><?xml version="1.0" encoding="utf-8"?>
<Control xmlns="http://schemas.microsoft.com/VisualStudio/2011/storyboarding/control">
  <Id Name="04e8d014-8fb4-4e55-9760-113b9e9f3709" Revision="1" Stencil="f0fc4329-16eb-469f-b220-892c3e81265e" StencilVersion="1.0"/>
</Control>
</file>

<file path=customXml/item67.xml><?xml version="1.0" encoding="utf-8"?>
<Control xmlns="http://schemas.microsoft.com/VisualStudio/2011/storyboarding/control">
  <Id Name="5be2ea78-a63e-42b8-ade6-ffb9302a8cce" Revision="1" Stencil="bd6305d0-abf3-4872-a861-baba8260f745" StencilVersion="1.0"/>
</Control>
</file>

<file path=customXml/item68.xml><?xml version="1.0" encoding="utf-8"?>
<Control xmlns="http://schemas.microsoft.com/VisualStudio/2011/storyboarding/control">
  <Id Name="a1d8d1ea-85c9-4520-ba31-dcfa8c572325" Revision="1" Stencil="System.MyShapes" StencilVersion="1.0"/>
</Control>
</file>

<file path=customXml/item69.xml><?xml version="1.0" encoding="utf-8"?>
<Control xmlns="http://schemas.microsoft.com/VisualStudio/2011/storyboarding/control">
  <Id Name="666daae4-4e82-4c10-960e-2e9b0f45adf1" Revision="1" Stencil="f0fc4329-16eb-469f-b220-892c3e81265e" StencilVersion="1.0"/>
</Control>
</file>

<file path=customXml/item7.xml><?xml version="1.0" encoding="utf-8"?>
<Control xmlns="http://schemas.microsoft.com/VisualStudio/2011/storyboarding/control">
  <Id Name="86d41f7d-20b6-4674-b8c4-ced200a058f6" Revision="1" Stencil="11585fe0-0be0-45cf-a2f1-54bf7d86f2a6" StencilVersion="1.0"/>
</Control>
</file>

<file path=customXml/item70.xml><?xml version="1.0" encoding="utf-8"?>
<Control xmlns="http://schemas.microsoft.com/VisualStudio/2011/storyboarding/control">
  <Id Name="4bbca70f-fdbf-4e2e-bf8b-53799af733d9" Revision="1" Stencil="System.MyShapes" StencilVersion="1.0"/>
</Control>
</file>

<file path=customXml/item71.xml><?xml version="1.0" encoding="utf-8"?>
<Control xmlns="http://schemas.microsoft.com/VisualStudio/2011/storyboarding/control">
  <Id Name="6dd4db81-eb65-4fcb-b8eb-25d920171581" Revision="1" Stencil="58dc1b23-9008-4477-91cc-3998054591a4" StencilVersion="1.0"/>
</Control>
</file>

<file path=customXml/item72.xml><?xml version="1.0" encoding="utf-8"?>
<Control xmlns="http://schemas.microsoft.com/VisualStudio/2011/storyboarding/control">
  <Id Name="22238087-5add-475a-b388-0b3e39addab9" Revision="1" Stencil="bd6305d0-abf3-4872-a861-baba8260f745" StencilVersion="1.0"/>
</Control>
</file>

<file path=customXml/item73.xml><?xml version="1.0" encoding="utf-8"?>
<Control xmlns="http://schemas.microsoft.com/VisualStudio/2011/storyboarding/control">
  <Id Name="a1d8d1ea-85c9-4520-ba31-dcfa8c572325" Revision="1" Stencil="System.MyShapes" StencilVersion="1.0"/>
</Control>
</file>

<file path=customXml/item74.xml><?xml version="1.0" encoding="utf-8"?>
<Control xmlns="http://schemas.microsoft.com/VisualStudio/2011/storyboarding/control">
  <Id Name="09a41815-7871-4a11-be05-ca5331746852" Revision="1" Stencil="System.MyShapes" StencilVersion="1.0"/>
</Control>
</file>

<file path=customXml/item75.xml><?xml version="1.0" encoding="utf-8"?>
<Control xmlns="http://schemas.microsoft.com/VisualStudio/2011/storyboarding/control">
  <Id Name="2a53b14d-7e6b-4f63-8e9a-f7dedea54f43" Revision="1" Stencil="System.MyShapes" StencilVersion="1.0"/>
</Control>
</file>

<file path=customXml/item76.xml><?xml version="1.0" encoding="utf-8"?>
<Control xmlns="http://schemas.microsoft.com/VisualStudio/2011/storyboarding/control">
  <Id Name="4bbca70f-fdbf-4e2e-bf8b-53799af733d9" Revision="1" Stencil="System.MyShapes" StencilVersion="1.0"/>
</Control>
</file>

<file path=customXml/item77.xml><?xml version="1.0" encoding="utf-8"?>
<Control xmlns="http://schemas.microsoft.com/VisualStudio/2011/storyboarding/control">
  <Id Name="5be2ea78-a63e-42b8-ade6-ffb9302a8cce" Revision="1" Stencil="bd6305d0-abf3-4872-a861-baba8260f745" StencilVersion="1.0"/>
</Control>
</file>

<file path=customXml/item8.xml><?xml version="1.0" encoding="utf-8"?>
<Control xmlns="http://schemas.microsoft.com/VisualStudio/2011/storyboarding/control">
  <Id Name="5d3994c7-25d0-4d08-8023-b10187219022" Revision="1" Stencil="bd6305d0-abf3-4872-a861-baba8260f745" StencilVersion="1.0"/>
</Control>
</file>

<file path=customXml/item9.xml><?xml version="1.0" encoding="utf-8"?>
<Control xmlns="http://schemas.microsoft.com/VisualStudio/2011/storyboarding/control">
  <Id Name="09a41815-7871-4a11-be05-ca5331746852" Revision="1" Stencil="System.MyShapes" StencilVersion="1.0"/>
</Control>
</file>

<file path=customXml/itemProps1.xml><?xml version="1.0" encoding="utf-8"?>
<ds:datastoreItem xmlns:ds="http://schemas.openxmlformats.org/officeDocument/2006/customXml" ds:itemID="{92CF6CBA-9FED-4359-A037-B724A0637D62}">
  <ds:schemaRefs>
    <ds:schemaRef ds:uri="http://schemas.microsoft.com/VisualStudio/2011/storyboarding/control"/>
  </ds:schemaRefs>
</ds:datastoreItem>
</file>

<file path=customXml/itemProps10.xml><?xml version="1.0" encoding="utf-8"?>
<ds:datastoreItem xmlns:ds="http://schemas.openxmlformats.org/officeDocument/2006/customXml" ds:itemID="{8D110162-78C2-404B-8557-6C69FA5DE151}">
  <ds:schemaRefs>
    <ds:schemaRef ds:uri="http://schemas.microsoft.com/VisualStudio/2011/storyboarding/control"/>
  </ds:schemaRefs>
</ds:datastoreItem>
</file>

<file path=customXml/itemProps11.xml><?xml version="1.0" encoding="utf-8"?>
<ds:datastoreItem xmlns:ds="http://schemas.openxmlformats.org/officeDocument/2006/customXml" ds:itemID="{3E0718ED-0317-4B14-A763-06CF27DBAB33}">
  <ds:schemaRefs>
    <ds:schemaRef ds:uri="http://schemas.microsoft.com/VisualStudio/2011/storyboarding/control"/>
  </ds:schemaRefs>
</ds:datastoreItem>
</file>

<file path=customXml/itemProps12.xml><?xml version="1.0" encoding="utf-8"?>
<ds:datastoreItem xmlns:ds="http://schemas.openxmlformats.org/officeDocument/2006/customXml" ds:itemID="{F0623D7A-9E8F-41F4-9445-175B54739D82}">
  <ds:schemaRefs>
    <ds:schemaRef ds:uri="http://schemas.microsoft.com/VisualStudio/2011/storyboarding/control"/>
  </ds:schemaRefs>
</ds:datastoreItem>
</file>

<file path=customXml/itemProps13.xml><?xml version="1.0" encoding="utf-8"?>
<ds:datastoreItem xmlns:ds="http://schemas.openxmlformats.org/officeDocument/2006/customXml" ds:itemID="{52DCCBCC-02DF-4033-A04C-AD1664EDB1FC}">
  <ds:schemaRefs>
    <ds:schemaRef ds:uri="http://schemas.microsoft.com/VisualStudio/2011/storyboarding/control"/>
  </ds:schemaRefs>
</ds:datastoreItem>
</file>

<file path=customXml/itemProps14.xml><?xml version="1.0" encoding="utf-8"?>
<ds:datastoreItem xmlns:ds="http://schemas.openxmlformats.org/officeDocument/2006/customXml" ds:itemID="{6966A849-016D-41FC-A52C-327197C606BD}">
  <ds:schemaRefs>
    <ds:schemaRef ds:uri="http://schemas.microsoft.com/VisualStudio/2011/storyboarding/control"/>
  </ds:schemaRefs>
</ds:datastoreItem>
</file>

<file path=customXml/itemProps15.xml><?xml version="1.0" encoding="utf-8"?>
<ds:datastoreItem xmlns:ds="http://schemas.openxmlformats.org/officeDocument/2006/customXml" ds:itemID="{096B7EAD-8BC5-4B93-A8F9-CB8EDAFB22AC}">
  <ds:schemaRefs>
    <ds:schemaRef ds:uri="http://schemas.microsoft.com/VisualStudio/2011/storyboarding/control"/>
  </ds:schemaRefs>
</ds:datastoreItem>
</file>

<file path=customXml/itemProps16.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17.xml><?xml version="1.0" encoding="utf-8"?>
<ds:datastoreItem xmlns:ds="http://schemas.openxmlformats.org/officeDocument/2006/customXml" ds:itemID="{DB35C11F-2FED-4CDA-82A9-65B5B05D5B8C}">
  <ds:schemaRefs>
    <ds:schemaRef ds:uri="http://schemas.microsoft.com/VisualStudio/2011/storyboarding/control"/>
  </ds:schemaRefs>
</ds:datastoreItem>
</file>

<file path=customXml/itemProps18.xml><?xml version="1.0" encoding="utf-8"?>
<ds:datastoreItem xmlns:ds="http://schemas.openxmlformats.org/officeDocument/2006/customXml" ds:itemID="{E07064E0-3DA4-4299-8721-56A0E42ABD16}">
  <ds:schemaRefs>
    <ds:schemaRef ds:uri="http://schemas.microsoft.com/VisualStudio/2011/storyboarding/control"/>
  </ds:schemaRefs>
</ds:datastoreItem>
</file>

<file path=customXml/itemProps19.xml><?xml version="1.0" encoding="utf-8"?>
<ds:datastoreItem xmlns:ds="http://schemas.openxmlformats.org/officeDocument/2006/customXml" ds:itemID="{CBA0B53A-4934-4DA0-BC92-443E70269434}">
  <ds:schemaRefs>
    <ds:schemaRef ds:uri="http://schemas.microsoft.com/VisualStudio/2011/storyboarding/control"/>
  </ds:schemaRefs>
</ds:datastoreItem>
</file>

<file path=customXml/itemProps2.xml><?xml version="1.0" encoding="utf-8"?>
<ds:datastoreItem xmlns:ds="http://schemas.openxmlformats.org/officeDocument/2006/customXml" ds:itemID="{CE6B9991-5446-4BCA-9DD5-1CFDC2CE4FF9}">
  <ds:schemaRefs>
    <ds:schemaRef ds:uri="http://schemas.microsoft.com/VisualStudio/2011/storyboarding/control"/>
  </ds:schemaRefs>
</ds:datastoreItem>
</file>

<file path=customXml/itemProps20.xml><?xml version="1.0" encoding="utf-8"?>
<ds:datastoreItem xmlns:ds="http://schemas.openxmlformats.org/officeDocument/2006/customXml" ds:itemID="{5BC2EC17-E311-4BBA-B23E-DE47CFF15345}">
  <ds:schemaRefs>
    <ds:schemaRef ds:uri="http://schemas.microsoft.com/VisualStudio/2011/storyboarding/control"/>
  </ds:schemaRefs>
</ds:datastoreItem>
</file>

<file path=customXml/itemProps21.xml><?xml version="1.0" encoding="utf-8"?>
<ds:datastoreItem xmlns:ds="http://schemas.openxmlformats.org/officeDocument/2006/customXml" ds:itemID="{52E93FDB-3877-43D9-ABEA-AED0E921DC2D}">
  <ds:schemaRefs>
    <ds:schemaRef ds:uri="http://schemas.microsoft.com/VisualStudio/2011/storyboarding/control"/>
  </ds:schemaRefs>
</ds:datastoreItem>
</file>

<file path=customXml/itemProps22.xml><?xml version="1.0" encoding="utf-8"?>
<ds:datastoreItem xmlns:ds="http://schemas.openxmlformats.org/officeDocument/2006/customXml" ds:itemID="{955E322B-55FB-4794-8E69-D5EE4AC222E7}">
  <ds:schemaRefs>
    <ds:schemaRef ds:uri="http://schemas.microsoft.com/VisualStudio/2011/storyboarding/control"/>
  </ds:schemaRefs>
</ds:datastoreItem>
</file>

<file path=customXml/itemProps23.xml><?xml version="1.0" encoding="utf-8"?>
<ds:datastoreItem xmlns:ds="http://schemas.openxmlformats.org/officeDocument/2006/customXml" ds:itemID="{D2407DE2-2692-4723-80EA-81AE8C397943}">
  <ds:schemaRefs>
    <ds:schemaRef ds:uri="http://schemas.microsoft.com/VisualStudio/2011/storyboarding/control"/>
  </ds:schemaRefs>
</ds:datastoreItem>
</file>

<file path=customXml/itemProps24.xml><?xml version="1.0" encoding="utf-8"?>
<ds:datastoreItem xmlns:ds="http://schemas.openxmlformats.org/officeDocument/2006/customXml" ds:itemID="{51E0629C-9742-4A2D-92DE-905F4CE4608A}">
  <ds:schemaRefs>
    <ds:schemaRef ds:uri="http://schemas.microsoft.com/VisualStudio/2011/storyboarding/control"/>
  </ds:schemaRefs>
</ds:datastoreItem>
</file>

<file path=customXml/itemProps25.xml><?xml version="1.0" encoding="utf-8"?>
<ds:datastoreItem xmlns:ds="http://schemas.openxmlformats.org/officeDocument/2006/customXml" ds:itemID="{52F9C793-EEC7-4FA4-9953-12D56A642A3F}">
  <ds:schemaRefs>
    <ds:schemaRef ds:uri="http://schemas.microsoft.com/VisualStudio/2011/storyboarding/control"/>
  </ds:schemaRefs>
</ds:datastoreItem>
</file>

<file path=customXml/itemProps26.xml><?xml version="1.0" encoding="utf-8"?>
<ds:datastoreItem xmlns:ds="http://schemas.openxmlformats.org/officeDocument/2006/customXml" ds:itemID="{D74C2060-CED6-4FBD-9096-6382EDFE8B75}">
  <ds:schemaRefs>
    <ds:schemaRef ds:uri="http://schemas.microsoft.com/VisualStudio/2011/storyboarding/control"/>
  </ds:schemaRefs>
</ds:datastoreItem>
</file>

<file path=customXml/itemProps27.xml><?xml version="1.0" encoding="utf-8"?>
<ds:datastoreItem xmlns:ds="http://schemas.openxmlformats.org/officeDocument/2006/customXml" ds:itemID="{761D3988-94FD-40CB-AF4A-9450E5528148}">
  <ds:schemaRefs>
    <ds:schemaRef ds:uri="http://schemas.microsoft.com/VisualStudio/2011/storyboarding/control"/>
  </ds:schemaRefs>
</ds:datastoreItem>
</file>

<file path=customXml/itemProps28.xml><?xml version="1.0" encoding="utf-8"?>
<ds:datastoreItem xmlns:ds="http://schemas.openxmlformats.org/officeDocument/2006/customXml" ds:itemID="{5265ECBA-548A-457B-BBF8-C51911B0CC68}">
  <ds:schemaRefs>
    <ds:schemaRef ds:uri="http://schemas.microsoft.com/VisualStudio/2011/storyboarding/control"/>
  </ds:schemaRefs>
</ds:datastoreItem>
</file>

<file path=customXml/itemProps29.xml><?xml version="1.0" encoding="utf-8"?>
<ds:datastoreItem xmlns:ds="http://schemas.openxmlformats.org/officeDocument/2006/customXml" ds:itemID="{C519854D-BAED-44C8-8D3C-A9EADC80D156}">
  <ds:schemaRefs>
    <ds:schemaRef ds:uri="http://schemas.microsoft.com/VisualStudio/2011/storyboarding/control"/>
  </ds:schemaRefs>
</ds:datastoreItem>
</file>

<file path=customXml/itemProps3.xml><?xml version="1.0" encoding="utf-8"?>
<ds:datastoreItem xmlns:ds="http://schemas.openxmlformats.org/officeDocument/2006/customXml" ds:itemID="{F8086FC1-0CFA-4B83-AC47-5034FF32C07A}">
  <ds:schemaRefs>
    <ds:schemaRef ds:uri="http://schemas.microsoft.com/VisualStudio/2011/storyboarding/control"/>
  </ds:schemaRefs>
</ds:datastoreItem>
</file>

<file path=customXml/itemProps30.xml><?xml version="1.0" encoding="utf-8"?>
<ds:datastoreItem xmlns:ds="http://schemas.openxmlformats.org/officeDocument/2006/customXml" ds:itemID="{E1CD2C13-812A-4D0E-8F67-EBA303CFC74E}">
  <ds:schemaRefs>
    <ds:schemaRef ds:uri="http://schemas.microsoft.com/VisualStudio/2011/storyboarding/control"/>
  </ds:schemaRefs>
</ds:datastoreItem>
</file>

<file path=customXml/itemProps31.xml><?xml version="1.0" encoding="utf-8"?>
<ds:datastoreItem xmlns:ds="http://schemas.openxmlformats.org/officeDocument/2006/customXml" ds:itemID="{0B689815-4B65-4FA2-B74B-E9A4DF6AE7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230e9df3-be65-4c73-a93b-d1236ebd677e"/>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2.xml><?xml version="1.0" encoding="utf-8"?>
<ds:datastoreItem xmlns:ds="http://schemas.openxmlformats.org/officeDocument/2006/customXml" ds:itemID="{17A9A726-9815-4159-A426-4D5ABA6BB2A7}">
  <ds:schemaRefs>
    <ds:schemaRef ds:uri="http://schemas.microsoft.com/VisualStudio/2011/storyboarding/control"/>
  </ds:schemaRefs>
</ds:datastoreItem>
</file>

<file path=customXml/itemProps33.xml><?xml version="1.0" encoding="utf-8"?>
<ds:datastoreItem xmlns:ds="http://schemas.openxmlformats.org/officeDocument/2006/customXml" ds:itemID="{8DF1D6AE-A540-4C95-9ECC-0B58D664BE12}">
  <ds:schemaRefs>
    <ds:schemaRef ds:uri="http://schemas.microsoft.com/VisualStudio/2011/storyboarding/control"/>
  </ds:schemaRefs>
</ds:datastoreItem>
</file>

<file path=customXml/itemProps34.xml><?xml version="1.0" encoding="utf-8"?>
<ds:datastoreItem xmlns:ds="http://schemas.openxmlformats.org/officeDocument/2006/customXml" ds:itemID="{D72B88C5-1EA3-41BB-BB8C-0C0563DC852A}">
  <ds:schemaRefs>
    <ds:schemaRef ds:uri="http://schemas.microsoft.com/VisualStudio/2011/storyboarding/control"/>
  </ds:schemaRefs>
</ds:datastoreItem>
</file>

<file path=customXml/itemProps35.xml><?xml version="1.0" encoding="utf-8"?>
<ds:datastoreItem xmlns:ds="http://schemas.openxmlformats.org/officeDocument/2006/customXml" ds:itemID="{45824AEA-85A1-48C0-B16D-CDDA94D36F57}">
  <ds:schemaRefs>
    <ds:schemaRef ds:uri="http://schemas.microsoft.com/VisualStudio/2011/storyboarding/control"/>
  </ds:schemaRefs>
</ds:datastoreItem>
</file>

<file path=customXml/itemProps36.xml><?xml version="1.0" encoding="utf-8"?>
<ds:datastoreItem xmlns:ds="http://schemas.openxmlformats.org/officeDocument/2006/customXml" ds:itemID="{80A4D259-74CE-4C88-9A06-9D0186E746DF}">
  <ds:schemaRefs>
    <ds:schemaRef ds:uri="http://schemas.microsoft.com/VisualStudio/2011/storyboarding/control"/>
  </ds:schemaRefs>
</ds:datastoreItem>
</file>

<file path=customXml/itemProps37.xml><?xml version="1.0" encoding="utf-8"?>
<ds:datastoreItem xmlns:ds="http://schemas.openxmlformats.org/officeDocument/2006/customXml" ds:itemID="{24862819-4073-4E6C-9F25-BCB1F3B89A40}">
  <ds:schemaRefs>
    <ds:schemaRef ds:uri="http://schemas.microsoft.com/VisualStudio/2011/storyboarding/control"/>
  </ds:schemaRefs>
</ds:datastoreItem>
</file>

<file path=customXml/itemProps38.xml><?xml version="1.0" encoding="utf-8"?>
<ds:datastoreItem xmlns:ds="http://schemas.openxmlformats.org/officeDocument/2006/customXml" ds:itemID="{DBDC9A1B-D6A0-4296-9F70-FCC504301F23}">
  <ds:schemaRefs>
    <ds:schemaRef ds:uri="http://schemas.microsoft.com/VisualStudio/2011/storyboarding/control"/>
  </ds:schemaRefs>
</ds:datastoreItem>
</file>

<file path=customXml/itemProps39.xml><?xml version="1.0" encoding="utf-8"?>
<ds:datastoreItem xmlns:ds="http://schemas.openxmlformats.org/officeDocument/2006/customXml" ds:itemID="{F990F116-B58F-4255-B05B-DA3808E0E5C6}">
  <ds:schemaRefs>
    <ds:schemaRef ds:uri="http://schemas.microsoft.com/office/2006/documentManagement/types"/>
    <ds:schemaRef ds:uri="8b529f77-48ab-4581-b468-93f09345b8aa"/>
    <ds:schemaRef ds:uri="http://purl.org/dc/terms/"/>
    <ds:schemaRef ds:uri="230e9df3-be65-4c73-a93b-d1236ebd677e"/>
    <ds:schemaRef ds:uri="http://schemas.microsoft.com/office/2006/metadata/properties"/>
    <ds:schemaRef ds:uri="http://purl.org/dc/elements/1.1/"/>
    <ds:schemaRef ds:uri="http://www.w3.org/XML/1998/namespace"/>
    <ds:schemaRef ds:uri="http://purl.org/dc/dcmitype/"/>
    <ds:schemaRef ds:uri="http://schemas.microsoft.com/office/infopath/2007/PartnerControls"/>
    <ds:schemaRef ds:uri="http://schemas.openxmlformats.org/package/2006/metadata/core-properties"/>
    <ds:schemaRef ds:uri="2295e2e7-0eeb-498e-8716-217bb2ee6ee3"/>
  </ds:schemaRefs>
</ds:datastoreItem>
</file>

<file path=customXml/itemProps4.xml><?xml version="1.0" encoding="utf-8"?>
<ds:datastoreItem xmlns:ds="http://schemas.openxmlformats.org/officeDocument/2006/customXml" ds:itemID="{0525CD5E-E816-4FA9-82B0-2592A54A9795}">
  <ds:schemaRefs>
    <ds:schemaRef ds:uri="http://schemas.microsoft.com/VisualStudio/2011/storyboarding/control"/>
  </ds:schemaRefs>
</ds:datastoreItem>
</file>

<file path=customXml/itemProps40.xml><?xml version="1.0" encoding="utf-8"?>
<ds:datastoreItem xmlns:ds="http://schemas.openxmlformats.org/officeDocument/2006/customXml" ds:itemID="{FB2584B3-4F0E-4D40-A126-E37650514817}">
  <ds:schemaRefs>
    <ds:schemaRef ds:uri="http://schemas.microsoft.com/VisualStudio/2011/storyboarding/control"/>
  </ds:schemaRefs>
</ds:datastoreItem>
</file>

<file path=customXml/itemProps41.xml><?xml version="1.0" encoding="utf-8"?>
<ds:datastoreItem xmlns:ds="http://schemas.openxmlformats.org/officeDocument/2006/customXml" ds:itemID="{2267817D-C69F-4DD1-8DB5-560D04B275B0}">
  <ds:schemaRefs>
    <ds:schemaRef ds:uri="http://schemas.microsoft.com/VisualStudio/2011/storyboarding/control"/>
  </ds:schemaRefs>
</ds:datastoreItem>
</file>

<file path=customXml/itemProps42.xml><?xml version="1.0" encoding="utf-8"?>
<ds:datastoreItem xmlns:ds="http://schemas.openxmlformats.org/officeDocument/2006/customXml" ds:itemID="{8C5D1817-1751-464F-8A10-9ACC7EBF621B}">
  <ds:schemaRefs>
    <ds:schemaRef ds:uri="http://schemas.microsoft.com/VisualStudio/2011/storyboarding/control"/>
  </ds:schemaRefs>
</ds:datastoreItem>
</file>

<file path=customXml/itemProps43.xml><?xml version="1.0" encoding="utf-8"?>
<ds:datastoreItem xmlns:ds="http://schemas.openxmlformats.org/officeDocument/2006/customXml" ds:itemID="{CF5BC90A-4934-4209-B960-96F4875EC05F}">
  <ds:schemaRefs>
    <ds:schemaRef ds:uri="http://schemas.microsoft.com/VisualStudio/2011/storyboarding/control"/>
  </ds:schemaRefs>
</ds:datastoreItem>
</file>

<file path=customXml/itemProps44.xml><?xml version="1.0" encoding="utf-8"?>
<ds:datastoreItem xmlns:ds="http://schemas.openxmlformats.org/officeDocument/2006/customXml" ds:itemID="{D64EDA81-701E-48E6-9327-97204245858A}">
  <ds:schemaRefs>
    <ds:schemaRef ds:uri="http://schemas.microsoft.com/VisualStudio/2011/storyboarding/control"/>
  </ds:schemaRefs>
</ds:datastoreItem>
</file>

<file path=customXml/itemProps45.xml><?xml version="1.0" encoding="utf-8"?>
<ds:datastoreItem xmlns:ds="http://schemas.openxmlformats.org/officeDocument/2006/customXml" ds:itemID="{50E3FFB3-683C-4157-815A-3A3A1A4584BD}">
  <ds:schemaRefs>
    <ds:schemaRef ds:uri="http://schemas.microsoft.com/VisualStudio/2011/storyboarding/control"/>
  </ds:schemaRefs>
</ds:datastoreItem>
</file>

<file path=customXml/itemProps46.xml><?xml version="1.0" encoding="utf-8"?>
<ds:datastoreItem xmlns:ds="http://schemas.openxmlformats.org/officeDocument/2006/customXml" ds:itemID="{CF476C6E-BFFD-474D-A84C-F838C25466A2}">
  <ds:schemaRefs>
    <ds:schemaRef ds:uri="http://schemas.microsoft.com/VisualStudio/2011/storyboarding/control"/>
  </ds:schemaRefs>
</ds:datastoreItem>
</file>

<file path=customXml/itemProps47.xml><?xml version="1.0" encoding="utf-8"?>
<ds:datastoreItem xmlns:ds="http://schemas.openxmlformats.org/officeDocument/2006/customXml" ds:itemID="{9FC6DD32-518C-44F4-A968-F7F3FC3A9647}">
  <ds:schemaRefs>
    <ds:schemaRef ds:uri="http://schemas.microsoft.com/VisualStudio/2011/storyboarding/control"/>
  </ds:schemaRefs>
</ds:datastoreItem>
</file>

<file path=customXml/itemProps48.xml><?xml version="1.0" encoding="utf-8"?>
<ds:datastoreItem xmlns:ds="http://schemas.openxmlformats.org/officeDocument/2006/customXml" ds:itemID="{4A612EDE-F995-4460-BB5A-7B3BCEF3335F}">
  <ds:schemaRefs>
    <ds:schemaRef ds:uri="http://schemas.microsoft.com/VisualStudio/2011/storyboarding/control"/>
  </ds:schemaRefs>
</ds:datastoreItem>
</file>

<file path=customXml/itemProps49.xml><?xml version="1.0" encoding="utf-8"?>
<ds:datastoreItem xmlns:ds="http://schemas.openxmlformats.org/officeDocument/2006/customXml" ds:itemID="{7A5665B9-1E0B-4B9D-BD1F-9BE244B37B8B}">
  <ds:schemaRefs>
    <ds:schemaRef ds:uri="http://schemas.microsoft.com/VisualStudio/2011/storyboarding/control"/>
  </ds:schemaRefs>
</ds:datastoreItem>
</file>

<file path=customXml/itemProps5.xml><?xml version="1.0" encoding="utf-8"?>
<ds:datastoreItem xmlns:ds="http://schemas.openxmlformats.org/officeDocument/2006/customXml" ds:itemID="{A5E54233-8830-4637-88B6-0EF81DC03F90}">
  <ds:schemaRefs>
    <ds:schemaRef ds:uri="http://schemas.microsoft.com/VisualStudio/2011/storyboarding/control"/>
  </ds:schemaRefs>
</ds:datastoreItem>
</file>

<file path=customXml/itemProps50.xml><?xml version="1.0" encoding="utf-8"?>
<ds:datastoreItem xmlns:ds="http://schemas.openxmlformats.org/officeDocument/2006/customXml" ds:itemID="{3D9B38D2-B673-4260-B491-DC888860C325}">
  <ds:schemaRefs>
    <ds:schemaRef ds:uri="http://schemas.microsoft.com/VisualStudio/2011/storyboarding/control"/>
  </ds:schemaRefs>
</ds:datastoreItem>
</file>

<file path=customXml/itemProps51.xml><?xml version="1.0" encoding="utf-8"?>
<ds:datastoreItem xmlns:ds="http://schemas.openxmlformats.org/officeDocument/2006/customXml" ds:itemID="{278E82D9-11D2-4125-A20D-4F0B700B4D5E}">
  <ds:schemaRefs>
    <ds:schemaRef ds:uri="http://schemas.microsoft.com/VisualStudio/2011/storyboarding/control"/>
  </ds:schemaRefs>
</ds:datastoreItem>
</file>

<file path=customXml/itemProps52.xml><?xml version="1.0" encoding="utf-8"?>
<ds:datastoreItem xmlns:ds="http://schemas.openxmlformats.org/officeDocument/2006/customXml" ds:itemID="{1F07B0A1-E546-47A0-98A8-116951FE7D48}">
  <ds:schemaRefs>
    <ds:schemaRef ds:uri="http://schemas.microsoft.com/VisualStudio/2011/storyboarding/control"/>
  </ds:schemaRefs>
</ds:datastoreItem>
</file>

<file path=customXml/itemProps53.xml><?xml version="1.0" encoding="utf-8"?>
<ds:datastoreItem xmlns:ds="http://schemas.openxmlformats.org/officeDocument/2006/customXml" ds:itemID="{F5F6FB60-274E-4B4B-A851-0E40725505A0}">
  <ds:schemaRefs>
    <ds:schemaRef ds:uri="http://schemas.microsoft.com/VisualStudio/2011/storyboarding/control"/>
  </ds:schemaRefs>
</ds:datastoreItem>
</file>

<file path=customXml/itemProps54.xml><?xml version="1.0" encoding="utf-8"?>
<ds:datastoreItem xmlns:ds="http://schemas.openxmlformats.org/officeDocument/2006/customXml" ds:itemID="{0350DC98-7E40-4556-BDB7-C0D3AA48447F}">
  <ds:schemaRefs>
    <ds:schemaRef ds:uri="http://schemas.microsoft.com/VisualStudio/2011/storyboarding/control"/>
  </ds:schemaRefs>
</ds:datastoreItem>
</file>

<file path=customXml/itemProps55.xml><?xml version="1.0" encoding="utf-8"?>
<ds:datastoreItem xmlns:ds="http://schemas.openxmlformats.org/officeDocument/2006/customXml" ds:itemID="{300285AD-F18A-464C-9A86-D2305D54D8B5}">
  <ds:schemaRefs>
    <ds:schemaRef ds:uri="http://schemas.microsoft.com/VisualStudio/2011/storyboarding/control"/>
  </ds:schemaRefs>
</ds:datastoreItem>
</file>

<file path=customXml/itemProps56.xml><?xml version="1.0" encoding="utf-8"?>
<ds:datastoreItem xmlns:ds="http://schemas.openxmlformats.org/officeDocument/2006/customXml" ds:itemID="{07F8877A-AF32-45C0-82F4-2BE5F4E9E334}">
  <ds:schemaRefs>
    <ds:schemaRef ds:uri="http://schemas.microsoft.com/VisualStudio/2011/storyboarding/control"/>
  </ds:schemaRefs>
</ds:datastoreItem>
</file>

<file path=customXml/itemProps57.xml><?xml version="1.0" encoding="utf-8"?>
<ds:datastoreItem xmlns:ds="http://schemas.openxmlformats.org/officeDocument/2006/customXml" ds:itemID="{798F9340-0514-4510-A4AC-2E451D2E00F3}">
  <ds:schemaRefs>
    <ds:schemaRef ds:uri="http://schemas.microsoft.com/VisualStudio/2011/storyboarding/control"/>
  </ds:schemaRefs>
</ds:datastoreItem>
</file>

<file path=customXml/itemProps58.xml><?xml version="1.0" encoding="utf-8"?>
<ds:datastoreItem xmlns:ds="http://schemas.openxmlformats.org/officeDocument/2006/customXml" ds:itemID="{4DF46496-A81E-425E-8CC9-4BD048CA6FC7}">
  <ds:schemaRefs>
    <ds:schemaRef ds:uri="http://schemas.microsoft.com/VisualStudio/2011/storyboarding/control"/>
  </ds:schemaRefs>
</ds:datastoreItem>
</file>

<file path=customXml/itemProps59.xml><?xml version="1.0" encoding="utf-8"?>
<ds:datastoreItem xmlns:ds="http://schemas.openxmlformats.org/officeDocument/2006/customXml" ds:itemID="{F31716D5-BEC7-4BE9-9722-C1FBD98B0691}">
  <ds:schemaRefs>
    <ds:schemaRef ds:uri="http://schemas.microsoft.com/VisualStudio/2011/storyboarding/control"/>
  </ds:schemaRefs>
</ds:datastoreItem>
</file>

<file path=customXml/itemProps6.xml><?xml version="1.0" encoding="utf-8"?>
<ds:datastoreItem xmlns:ds="http://schemas.openxmlformats.org/officeDocument/2006/customXml" ds:itemID="{AF7C5746-0898-4736-9B83-91B2B7CC1856}">
  <ds:schemaRefs>
    <ds:schemaRef ds:uri="http://schemas.microsoft.com/VisualStudio/2011/storyboarding/control"/>
  </ds:schemaRefs>
</ds:datastoreItem>
</file>

<file path=customXml/itemProps60.xml><?xml version="1.0" encoding="utf-8"?>
<ds:datastoreItem xmlns:ds="http://schemas.openxmlformats.org/officeDocument/2006/customXml" ds:itemID="{B719013F-EA93-44B8-BF82-2EBC471636B4}">
  <ds:schemaRefs>
    <ds:schemaRef ds:uri="http://schemas.microsoft.com/VisualStudio/2011/storyboarding/control"/>
  </ds:schemaRefs>
</ds:datastoreItem>
</file>

<file path=customXml/itemProps61.xml><?xml version="1.0" encoding="utf-8"?>
<ds:datastoreItem xmlns:ds="http://schemas.openxmlformats.org/officeDocument/2006/customXml" ds:itemID="{29B981CC-442D-4A88-BD8E-080063B294CD}">
  <ds:schemaRefs>
    <ds:schemaRef ds:uri="http://schemas.microsoft.com/VisualStudio/2011/storyboarding/control"/>
  </ds:schemaRefs>
</ds:datastoreItem>
</file>

<file path=customXml/itemProps62.xml><?xml version="1.0" encoding="utf-8"?>
<ds:datastoreItem xmlns:ds="http://schemas.openxmlformats.org/officeDocument/2006/customXml" ds:itemID="{7D75BDE0-F9FC-46CE-9685-2EEDAA0E88D2}">
  <ds:schemaRefs>
    <ds:schemaRef ds:uri="http://schemas.microsoft.com/VisualStudio/2011/storyboarding/control"/>
  </ds:schemaRefs>
</ds:datastoreItem>
</file>

<file path=customXml/itemProps63.xml><?xml version="1.0" encoding="utf-8"?>
<ds:datastoreItem xmlns:ds="http://schemas.openxmlformats.org/officeDocument/2006/customXml" ds:itemID="{783BF9CA-AADE-4BCB-AF8C-C327D64111FE}">
  <ds:schemaRefs>
    <ds:schemaRef ds:uri="http://schemas.microsoft.com/VisualStudio/2011/storyboarding/control"/>
  </ds:schemaRefs>
</ds:datastoreItem>
</file>

<file path=customXml/itemProps64.xml><?xml version="1.0" encoding="utf-8"?>
<ds:datastoreItem xmlns:ds="http://schemas.openxmlformats.org/officeDocument/2006/customXml" ds:itemID="{AAC32D7D-D9E6-4429-8528-4F7F53ACF3A4}">
  <ds:schemaRefs>
    <ds:schemaRef ds:uri="http://schemas.microsoft.com/VisualStudio/2011/storyboarding/control"/>
  </ds:schemaRefs>
</ds:datastoreItem>
</file>

<file path=customXml/itemProps65.xml><?xml version="1.0" encoding="utf-8"?>
<ds:datastoreItem xmlns:ds="http://schemas.openxmlformats.org/officeDocument/2006/customXml" ds:itemID="{F34DAC43-A89A-4E3A-ADD6-405D708204F0}">
  <ds:schemaRefs>
    <ds:schemaRef ds:uri="http://schemas.microsoft.com/VisualStudio/2011/storyboarding/control"/>
  </ds:schemaRefs>
</ds:datastoreItem>
</file>

<file path=customXml/itemProps66.xml><?xml version="1.0" encoding="utf-8"?>
<ds:datastoreItem xmlns:ds="http://schemas.openxmlformats.org/officeDocument/2006/customXml" ds:itemID="{E28EBAC8-5499-41FC-B7A8-1C7BE63AE289}">
  <ds:schemaRefs>
    <ds:schemaRef ds:uri="http://schemas.microsoft.com/VisualStudio/2011/storyboarding/control"/>
  </ds:schemaRefs>
</ds:datastoreItem>
</file>

<file path=customXml/itemProps67.xml><?xml version="1.0" encoding="utf-8"?>
<ds:datastoreItem xmlns:ds="http://schemas.openxmlformats.org/officeDocument/2006/customXml" ds:itemID="{1A5AED30-74C0-445F-8266-92AC18D09F13}">
  <ds:schemaRefs>
    <ds:schemaRef ds:uri="http://schemas.microsoft.com/VisualStudio/2011/storyboarding/control"/>
  </ds:schemaRefs>
</ds:datastoreItem>
</file>

<file path=customXml/itemProps68.xml><?xml version="1.0" encoding="utf-8"?>
<ds:datastoreItem xmlns:ds="http://schemas.openxmlformats.org/officeDocument/2006/customXml" ds:itemID="{3EC96FC2-7CE6-42A3-8347-4D8D5852FCAF}">
  <ds:schemaRefs>
    <ds:schemaRef ds:uri="http://schemas.microsoft.com/VisualStudio/2011/storyboarding/control"/>
  </ds:schemaRefs>
</ds:datastoreItem>
</file>

<file path=customXml/itemProps69.xml><?xml version="1.0" encoding="utf-8"?>
<ds:datastoreItem xmlns:ds="http://schemas.openxmlformats.org/officeDocument/2006/customXml" ds:itemID="{E74F048A-26AC-4E94-9136-E1B3D882CF85}">
  <ds:schemaRefs>
    <ds:schemaRef ds:uri="http://schemas.microsoft.com/VisualStudio/2011/storyboarding/control"/>
  </ds:schemaRefs>
</ds:datastoreItem>
</file>

<file path=customXml/itemProps7.xml><?xml version="1.0" encoding="utf-8"?>
<ds:datastoreItem xmlns:ds="http://schemas.openxmlformats.org/officeDocument/2006/customXml" ds:itemID="{6E773AF6-A917-4066-A335-49E177E5DB97}">
  <ds:schemaRefs>
    <ds:schemaRef ds:uri="http://schemas.microsoft.com/VisualStudio/2011/storyboarding/control"/>
  </ds:schemaRefs>
</ds:datastoreItem>
</file>

<file path=customXml/itemProps70.xml><?xml version="1.0" encoding="utf-8"?>
<ds:datastoreItem xmlns:ds="http://schemas.openxmlformats.org/officeDocument/2006/customXml" ds:itemID="{9682AED0-73A0-4F43-AAFE-B32CF9A15F7B}">
  <ds:schemaRefs>
    <ds:schemaRef ds:uri="http://schemas.microsoft.com/VisualStudio/2011/storyboarding/control"/>
  </ds:schemaRefs>
</ds:datastoreItem>
</file>

<file path=customXml/itemProps71.xml><?xml version="1.0" encoding="utf-8"?>
<ds:datastoreItem xmlns:ds="http://schemas.openxmlformats.org/officeDocument/2006/customXml" ds:itemID="{AD4E94E1-A7A1-41BB-BB8B-88B701771DA8}">
  <ds:schemaRefs>
    <ds:schemaRef ds:uri="http://schemas.microsoft.com/VisualStudio/2011/storyboarding/control"/>
  </ds:schemaRefs>
</ds:datastoreItem>
</file>

<file path=customXml/itemProps72.xml><?xml version="1.0" encoding="utf-8"?>
<ds:datastoreItem xmlns:ds="http://schemas.openxmlformats.org/officeDocument/2006/customXml" ds:itemID="{3E4F96A8-560C-4EC5-9CBD-3B68BF10FE72}">
  <ds:schemaRefs>
    <ds:schemaRef ds:uri="http://schemas.microsoft.com/VisualStudio/2011/storyboarding/control"/>
  </ds:schemaRefs>
</ds:datastoreItem>
</file>

<file path=customXml/itemProps73.xml><?xml version="1.0" encoding="utf-8"?>
<ds:datastoreItem xmlns:ds="http://schemas.openxmlformats.org/officeDocument/2006/customXml" ds:itemID="{B6E44326-C1DC-40A9-831F-8FEF9279D387}">
  <ds:schemaRefs>
    <ds:schemaRef ds:uri="http://schemas.microsoft.com/VisualStudio/2011/storyboarding/control"/>
  </ds:schemaRefs>
</ds:datastoreItem>
</file>

<file path=customXml/itemProps74.xml><?xml version="1.0" encoding="utf-8"?>
<ds:datastoreItem xmlns:ds="http://schemas.openxmlformats.org/officeDocument/2006/customXml" ds:itemID="{FD4BB36A-2695-4017-BF6B-EA40BD5BF169}">
  <ds:schemaRefs>
    <ds:schemaRef ds:uri="http://schemas.microsoft.com/VisualStudio/2011/storyboarding/control"/>
  </ds:schemaRefs>
</ds:datastoreItem>
</file>

<file path=customXml/itemProps75.xml><?xml version="1.0" encoding="utf-8"?>
<ds:datastoreItem xmlns:ds="http://schemas.openxmlformats.org/officeDocument/2006/customXml" ds:itemID="{EA6BCD2A-067D-42D6-96C8-5600B4E6071D}">
  <ds:schemaRefs>
    <ds:schemaRef ds:uri="http://schemas.microsoft.com/VisualStudio/2011/storyboarding/control"/>
  </ds:schemaRefs>
</ds:datastoreItem>
</file>

<file path=customXml/itemProps76.xml><?xml version="1.0" encoding="utf-8"?>
<ds:datastoreItem xmlns:ds="http://schemas.openxmlformats.org/officeDocument/2006/customXml" ds:itemID="{22301E07-87B6-418B-A8AE-3DD5D2FE9555}">
  <ds:schemaRefs>
    <ds:schemaRef ds:uri="http://schemas.microsoft.com/VisualStudio/2011/storyboarding/control"/>
  </ds:schemaRefs>
</ds:datastoreItem>
</file>

<file path=customXml/itemProps77.xml><?xml version="1.0" encoding="utf-8"?>
<ds:datastoreItem xmlns:ds="http://schemas.openxmlformats.org/officeDocument/2006/customXml" ds:itemID="{0417E5EC-E1C2-458D-9167-A53EA1620039}">
  <ds:schemaRefs>
    <ds:schemaRef ds:uri="http://schemas.microsoft.com/VisualStudio/2011/storyboarding/control"/>
  </ds:schemaRefs>
</ds:datastoreItem>
</file>

<file path=customXml/itemProps8.xml><?xml version="1.0" encoding="utf-8"?>
<ds:datastoreItem xmlns:ds="http://schemas.openxmlformats.org/officeDocument/2006/customXml" ds:itemID="{B08A0330-7E66-4BE7-A85D-A3210419291D}">
  <ds:schemaRefs>
    <ds:schemaRef ds:uri="http://schemas.microsoft.com/VisualStudio/2011/storyboarding/control"/>
  </ds:schemaRefs>
</ds:datastoreItem>
</file>

<file path=customXml/itemProps9.xml><?xml version="1.0" encoding="utf-8"?>
<ds:datastoreItem xmlns:ds="http://schemas.openxmlformats.org/officeDocument/2006/customXml" ds:itemID="{EACE383F-9B9F-4DFC-8A8C-D42D81A3786E}">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Bertocci_AZ18</Template>
  <TotalTime>2055</TotalTime>
  <Words>1780</Words>
  <Application>Microsoft Office PowerPoint</Application>
  <PresentationFormat>Custom</PresentationFormat>
  <Paragraphs>247</Paragraphs>
  <Slides>33</Slides>
  <Notes>7</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33</vt:i4>
      </vt:variant>
    </vt:vector>
  </HeadingPairs>
  <TitlesOfParts>
    <vt:vector size="43" baseType="lpstr">
      <vt:lpstr>ＭＳ Ｐゴシック</vt:lpstr>
      <vt:lpstr>Arial</vt:lpstr>
      <vt:lpstr>Avenir LT Pro 45 Book</vt:lpstr>
      <vt:lpstr>Calibri</vt:lpstr>
      <vt:lpstr>Consolas</vt:lpstr>
      <vt:lpstr>Segoe</vt:lpstr>
      <vt:lpstr>Segoe UI</vt:lpstr>
      <vt:lpstr>Segoe UI Light</vt:lpstr>
      <vt:lpstr>5-30426_BUILD_2013_Template_White</vt:lpstr>
      <vt:lpstr>1_5-30426_BUILD_2013_Template_D.Blue</vt:lpstr>
      <vt:lpstr>PowerPoint Presentation</vt:lpstr>
      <vt:lpstr>Securing Windows Store applications and REST services  with Active Directory</vt:lpstr>
      <vt:lpstr>Building a Modern Business App</vt:lpstr>
      <vt:lpstr>Checklist</vt:lpstr>
      <vt:lpstr>Access resources outside of the corporate network</vt:lpstr>
      <vt:lpstr>REST, OAuth2</vt:lpstr>
      <vt:lpstr>Windows Azure Active Directory</vt:lpstr>
      <vt:lpstr>Clients and Resources in Windows Azure AD</vt:lpstr>
      <vt:lpstr>Demo</vt:lpstr>
      <vt:lpstr>ADFS in Windows Server 2012 R2</vt:lpstr>
      <vt:lpstr>Demo</vt:lpstr>
      <vt:lpstr>Checklist</vt:lpstr>
      <vt:lpstr>Handle authentication and session mechanics</vt:lpstr>
      <vt:lpstr>Windows Azure Authentication Library (AAL)</vt:lpstr>
      <vt:lpstr>Windows Azure Authentication Library</vt:lpstr>
      <vt:lpstr>Essential AAL Usage (C#)</vt:lpstr>
      <vt:lpstr>Demo</vt:lpstr>
      <vt:lpstr>Notes on User Experience</vt:lpstr>
      <vt:lpstr>Demo</vt:lpstr>
      <vt:lpstr>AAL Cache</vt:lpstr>
      <vt:lpstr>AAL Cache</vt:lpstr>
      <vt:lpstr>Checklist</vt:lpstr>
      <vt:lpstr>Apply access policies on non-domain joined devices</vt:lpstr>
      <vt:lpstr>Workplace-join in Windows 8.1</vt:lpstr>
      <vt:lpstr>Workplace Join Mechanics</vt:lpstr>
      <vt:lpstr>Using Device Authentication Info to Drive Access</vt:lpstr>
      <vt:lpstr>Demo</vt:lpstr>
      <vt:lpstr>Checklist</vt:lpstr>
      <vt:lpstr>In summary</vt:lpstr>
      <vt:lpstr>all you need to build great modern business app</vt:lpstr>
      <vt:lpstr>Resources</vt:lpstr>
      <vt:lpstr>PowerPoint Presentation</vt:lpstr>
      <vt:lpstr>Evaluate this session</vt:lpstr>
    </vt:vector>
  </TitlesOfParts>
  <Manager>Ron Sasaki</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uring Windows Store applications and REST services  with Active Directory</dc:title>
  <dc:subject>Build 2013</dc:subject>
  <dc:creator>Vittorio Bertocci</dc:creator>
  <cp:keywords>Build 2013</cp:keywords>
  <dc:description>Template: Mitchell Derrey, Silver Fox Productions
Formatting: 
Date: October 26-28, 2013
Location: San Francisco, CA
Audience Type: Internal</dc:description>
  <cp:lastModifiedBy>Shows</cp:lastModifiedBy>
  <cp:revision>51</cp:revision>
  <dcterms:created xsi:type="dcterms:W3CDTF">2013-06-14T18:30:15Z</dcterms:created>
  <dcterms:modified xsi:type="dcterms:W3CDTF">2013-06-28T20:2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605;#BUILD|58542b36-5bf5-46a6-a53f-a41fb7a73785</vt:lpwstr>
  </property>
  <property fmtid="{D5CDD505-2E9C-101B-9397-08002B2CF9AE}" pid="5" name="Audience">
    <vt:lpwstr/>
  </property>
  <property fmtid="{D5CDD505-2E9C-101B-9397-08002B2CF9AE}" pid="6" name="Event Location">
    <vt:lpwstr>497;#San Francisco|84dfcb53-432b-499d-8965-93d483d36b4a</vt:lpwstr>
  </property>
  <property fmtid="{D5CDD505-2E9C-101B-9397-08002B2CF9AE}" pid="7" name="Campaign">
    <vt:lpwstr/>
  </property>
  <property fmtid="{D5CDD505-2E9C-101B-9397-08002B2CF9AE}" pid="8" name="Event Venue">
    <vt:lpwstr/>
  </property>
  <property fmtid="{D5CDD505-2E9C-101B-9397-08002B2CF9AE}" pid="9" name="Track">
    <vt:lpwstr/>
  </property>
  <property fmtid="{D5CDD505-2E9C-101B-9397-08002B2CF9AE}" pid="10" name="Tfs.IsStoryboard">
    <vt:bool>true</vt:bool>
  </property>
</Properties>
</file>